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2.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3.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4.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5.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6.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7.xml" ContentType="application/vnd.openxmlformats-officedocument.theme+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3" r:id="rId5"/>
    <p:sldMasterId id="2147483795" r:id="rId6"/>
    <p:sldMasterId id="2147483842" r:id="rId7"/>
    <p:sldMasterId id="2147483870" r:id="rId8"/>
    <p:sldMasterId id="2147483889" r:id="rId9"/>
    <p:sldMasterId id="2147483909" r:id="rId10"/>
    <p:sldMasterId id="2147483995" r:id="rId11"/>
  </p:sldMasterIdLst>
  <p:notesMasterIdLst>
    <p:notesMasterId r:id="rId20"/>
  </p:notesMasterIdLst>
  <p:handoutMasterIdLst>
    <p:handoutMasterId r:id="rId21"/>
  </p:handoutMasterIdLst>
  <p:sldIdLst>
    <p:sldId id="2076137618" r:id="rId12"/>
    <p:sldId id="257" r:id="rId13"/>
    <p:sldId id="2076137621" r:id="rId14"/>
    <p:sldId id="1637" r:id="rId15"/>
    <p:sldId id="1634" r:id="rId16"/>
    <p:sldId id="1635" r:id="rId17"/>
    <p:sldId id="1621" r:id="rId18"/>
    <p:sldId id="2076137632"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691A4D86-FD44-4186-A059-ED45DB8A0894}">
          <p14:sldIdLst>
            <p14:sldId id="2076137618"/>
            <p14:sldId id="257"/>
            <p14:sldId id="2076137621"/>
            <p14:sldId id="1637"/>
            <p14:sldId id="1634"/>
            <p14:sldId id="1635"/>
            <p14:sldId id="1621"/>
            <p14:sldId id="207613763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757A"/>
    <a:srgbClr val="3C3C41"/>
    <a:srgbClr val="742774"/>
    <a:srgbClr val="7427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173" autoAdjust="0"/>
  </p:normalViewPr>
  <p:slideViewPr>
    <p:cSldViewPr snapToGrid="0">
      <p:cViewPr varScale="1">
        <p:scale>
          <a:sx n="91" d="100"/>
          <a:sy n="91" d="100"/>
        </p:scale>
        <p:origin x="1236"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ri Puustinen" userId="afdc5376-b007-4d8e-9c19-07b3fbb81413" providerId="ADAL" clId="{D1983050-7001-47A3-863C-735EF5F7CA8C}"/>
    <pc:docChg chg="undo custSel delSld modSld delSection modSection">
      <pc:chgData name="Petri Puustinen" userId="afdc5376-b007-4d8e-9c19-07b3fbb81413" providerId="ADAL" clId="{D1983050-7001-47A3-863C-735EF5F7CA8C}" dt="2021-10-25T05:19:59.745" v="358" actId="1035"/>
      <pc:docMkLst>
        <pc:docMk/>
      </pc:docMkLst>
      <pc:sldChg chg="del">
        <pc:chgData name="Petri Puustinen" userId="afdc5376-b007-4d8e-9c19-07b3fbb81413" providerId="ADAL" clId="{D1983050-7001-47A3-863C-735EF5F7CA8C}" dt="2021-09-28T13:02:34.483" v="49" actId="47"/>
        <pc:sldMkLst>
          <pc:docMk/>
          <pc:sldMk cId="1386521499" sldId="277"/>
        </pc:sldMkLst>
      </pc:sldChg>
      <pc:sldChg chg="del">
        <pc:chgData name="Petri Puustinen" userId="afdc5376-b007-4d8e-9c19-07b3fbb81413" providerId="ADAL" clId="{D1983050-7001-47A3-863C-735EF5F7CA8C}" dt="2021-09-28T13:02:34.483" v="49" actId="47"/>
        <pc:sldMkLst>
          <pc:docMk/>
          <pc:sldMk cId="3097032048" sldId="1617"/>
        </pc:sldMkLst>
      </pc:sldChg>
      <pc:sldChg chg="del">
        <pc:chgData name="Petri Puustinen" userId="afdc5376-b007-4d8e-9c19-07b3fbb81413" providerId="ADAL" clId="{D1983050-7001-47A3-863C-735EF5F7CA8C}" dt="2021-09-28T13:02:34.483" v="49" actId="47"/>
        <pc:sldMkLst>
          <pc:docMk/>
          <pc:sldMk cId="1450487318" sldId="1619"/>
        </pc:sldMkLst>
      </pc:sldChg>
      <pc:sldChg chg="del">
        <pc:chgData name="Petri Puustinen" userId="afdc5376-b007-4d8e-9c19-07b3fbb81413" providerId="ADAL" clId="{D1983050-7001-47A3-863C-735EF5F7CA8C}" dt="2021-09-28T13:02:34.483" v="49" actId="47"/>
        <pc:sldMkLst>
          <pc:docMk/>
          <pc:sldMk cId="21991821" sldId="1623"/>
        </pc:sldMkLst>
      </pc:sldChg>
      <pc:sldChg chg="del">
        <pc:chgData name="Petri Puustinen" userId="afdc5376-b007-4d8e-9c19-07b3fbb81413" providerId="ADAL" clId="{D1983050-7001-47A3-863C-735EF5F7CA8C}" dt="2021-09-28T13:02:34.483" v="49" actId="47"/>
        <pc:sldMkLst>
          <pc:docMk/>
          <pc:sldMk cId="978387420" sldId="1629"/>
        </pc:sldMkLst>
      </pc:sldChg>
      <pc:sldChg chg="del">
        <pc:chgData name="Petri Puustinen" userId="afdc5376-b007-4d8e-9c19-07b3fbb81413" providerId="ADAL" clId="{D1983050-7001-47A3-863C-735EF5F7CA8C}" dt="2021-09-28T13:02:34.483" v="49" actId="47"/>
        <pc:sldMkLst>
          <pc:docMk/>
          <pc:sldMk cId="2008698600" sldId="1630"/>
        </pc:sldMkLst>
      </pc:sldChg>
      <pc:sldChg chg="del">
        <pc:chgData name="Petri Puustinen" userId="afdc5376-b007-4d8e-9c19-07b3fbb81413" providerId="ADAL" clId="{D1983050-7001-47A3-863C-735EF5F7CA8C}" dt="2021-09-28T13:02:34.483" v="49" actId="47"/>
        <pc:sldMkLst>
          <pc:docMk/>
          <pc:sldMk cId="3778497945" sldId="1689"/>
        </pc:sldMkLst>
      </pc:sldChg>
      <pc:sldChg chg="del">
        <pc:chgData name="Petri Puustinen" userId="afdc5376-b007-4d8e-9c19-07b3fbb81413" providerId="ADAL" clId="{D1983050-7001-47A3-863C-735EF5F7CA8C}" dt="2021-09-28T13:02:34.483" v="49" actId="47"/>
        <pc:sldMkLst>
          <pc:docMk/>
          <pc:sldMk cId="509926583" sldId="1690"/>
        </pc:sldMkLst>
      </pc:sldChg>
      <pc:sldChg chg="del">
        <pc:chgData name="Petri Puustinen" userId="afdc5376-b007-4d8e-9c19-07b3fbb81413" providerId="ADAL" clId="{D1983050-7001-47A3-863C-735EF5F7CA8C}" dt="2021-09-28T13:02:34.483" v="49" actId="47"/>
        <pc:sldMkLst>
          <pc:docMk/>
          <pc:sldMk cId="3925769836" sldId="1691"/>
        </pc:sldMkLst>
      </pc:sldChg>
      <pc:sldChg chg="del">
        <pc:chgData name="Petri Puustinen" userId="afdc5376-b007-4d8e-9c19-07b3fbb81413" providerId="ADAL" clId="{D1983050-7001-47A3-863C-735EF5F7CA8C}" dt="2021-09-28T13:02:34.483" v="49" actId="47"/>
        <pc:sldMkLst>
          <pc:docMk/>
          <pc:sldMk cId="1126364840" sldId="2076136457"/>
        </pc:sldMkLst>
      </pc:sldChg>
      <pc:sldChg chg="del">
        <pc:chgData name="Petri Puustinen" userId="afdc5376-b007-4d8e-9c19-07b3fbb81413" providerId="ADAL" clId="{D1983050-7001-47A3-863C-735EF5F7CA8C}" dt="2021-09-28T13:02:34.483" v="49" actId="47"/>
        <pc:sldMkLst>
          <pc:docMk/>
          <pc:sldMk cId="49223125" sldId="2076136477"/>
        </pc:sldMkLst>
      </pc:sldChg>
      <pc:sldChg chg="del">
        <pc:chgData name="Petri Puustinen" userId="afdc5376-b007-4d8e-9c19-07b3fbb81413" providerId="ADAL" clId="{D1983050-7001-47A3-863C-735EF5F7CA8C}" dt="2021-09-28T13:02:34.483" v="49" actId="47"/>
        <pc:sldMkLst>
          <pc:docMk/>
          <pc:sldMk cId="1427191962" sldId="2076137270"/>
        </pc:sldMkLst>
      </pc:sldChg>
      <pc:sldChg chg="del">
        <pc:chgData name="Petri Puustinen" userId="afdc5376-b007-4d8e-9c19-07b3fbb81413" providerId="ADAL" clId="{D1983050-7001-47A3-863C-735EF5F7CA8C}" dt="2021-09-28T13:02:34.483" v="49" actId="47"/>
        <pc:sldMkLst>
          <pc:docMk/>
          <pc:sldMk cId="1827453008" sldId="2076137271"/>
        </pc:sldMkLst>
      </pc:sldChg>
      <pc:sldChg chg="del">
        <pc:chgData name="Petri Puustinen" userId="afdc5376-b007-4d8e-9c19-07b3fbb81413" providerId="ADAL" clId="{D1983050-7001-47A3-863C-735EF5F7CA8C}" dt="2021-09-28T13:02:34.483" v="49" actId="47"/>
        <pc:sldMkLst>
          <pc:docMk/>
          <pc:sldMk cId="2552361554" sldId="2076137276"/>
        </pc:sldMkLst>
      </pc:sldChg>
      <pc:sldChg chg="del">
        <pc:chgData name="Petri Puustinen" userId="afdc5376-b007-4d8e-9c19-07b3fbb81413" providerId="ADAL" clId="{D1983050-7001-47A3-863C-735EF5F7CA8C}" dt="2021-09-28T13:02:34.483" v="49" actId="47"/>
        <pc:sldMkLst>
          <pc:docMk/>
          <pc:sldMk cId="2734336414" sldId="2076137277"/>
        </pc:sldMkLst>
      </pc:sldChg>
      <pc:sldChg chg="del">
        <pc:chgData name="Petri Puustinen" userId="afdc5376-b007-4d8e-9c19-07b3fbb81413" providerId="ADAL" clId="{D1983050-7001-47A3-863C-735EF5F7CA8C}" dt="2021-09-28T13:02:34.483" v="49" actId="47"/>
        <pc:sldMkLst>
          <pc:docMk/>
          <pc:sldMk cId="2158751975" sldId="2076137279"/>
        </pc:sldMkLst>
      </pc:sldChg>
      <pc:sldChg chg="del">
        <pc:chgData name="Petri Puustinen" userId="afdc5376-b007-4d8e-9c19-07b3fbb81413" providerId="ADAL" clId="{D1983050-7001-47A3-863C-735EF5F7CA8C}" dt="2021-09-28T13:02:34.483" v="49" actId="47"/>
        <pc:sldMkLst>
          <pc:docMk/>
          <pc:sldMk cId="702449863" sldId="2076137280"/>
        </pc:sldMkLst>
      </pc:sldChg>
      <pc:sldChg chg="del">
        <pc:chgData name="Petri Puustinen" userId="afdc5376-b007-4d8e-9c19-07b3fbb81413" providerId="ADAL" clId="{D1983050-7001-47A3-863C-735EF5F7CA8C}" dt="2021-09-28T13:02:34.483" v="49" actId="47"/>
        <pc:sldMkLst>
          <pc:docMk/>
          <pc:sldMk cId="903406480" sldId="2076137282"/>
        </pc:sldMkLst>
      </pc:sldChg>
      <pc:sldChg chg="del">
        <pc:chgData name="Petri Puustinen" userId="afdc5376-b007-4d8e-9c19-07b3fbb81413" providerId="ADAL" clId="{D1983050-7001-47A3-863C-735EF5F7CA8C}" dt="2021-09-28T13:02:34.483" v="49" actId="47"/>
        <pc:sldMkLst>
          <pc:docMk/>
          <pc:sldMk cId="3042170533" sldId="2076137284"/>
        </pc:sldMkLst>
      </pc:sldChg>
      <pc:sldChg chg="del">
        <pc:chgData name="Petri Puustinen" userId="afdc5376-b007-4d8e-9c19-07b3fbb81413" providerId="ADAL" clId="{D1983050-7001-47A3-863C-735EF5F7CA8C}" dt="2021-09-28T13:02:34.483" v="49" actId="47"/>
        <pc:sldMkLst>
          <pc:docMk/>
          <pc:sldMk cId="2826215841" sldId="2076137285"/>
        </pc:sldMkLst>
      </pc:sldChg>
      <pc:sldChg chg="del">
        <pc:chgData name="Petri Puustinen" userId="afdc5376-b007-4d8e-9c19-07b3fbb81413" providerId="ADAL" clId="{D1983050-7001-47A3-863C-735EF5F7CA8C}" dt="2021-09-28T13:02:34.483" v="49" actId="47"/>
        <pc:sldMkLst>
          <pc:docMk/>
          <pc:sldMk cId="1538066922" sldId="2076137289"/>
        </pc:sldMkLst>
      </pc:sldChg>
      <pc:sldChg chg="del">
        <pc:chgData name="Petri Puustinen" userId="afdc5376-b007-4d8e-9c19-07b3fbb81413" providerId="ADAL" clId="{D1983050-7001-47A3-863C-735EF5F7CA8C}" dt="2021-09-28T13:02:34.483" v="49" actId="47"/>
        <pc:sldMkLst>
          <pc:docMk/>
          <pc:sldMk cId="2475551667" sldId="2076137291"/>
        </pc:sldMkLst>
      </pc:sldChg>
      <pc:sldChg chg="del">
        <pc:chgData name="Petri Puustinen" userId="afdc5376-b007-4d8e-9c19-07b3fbb81413" providerId="ADAL" clId="{D1983050-7001-47A3-863C-735EF5F7CA8C}" dt="2021-09-28T13:02:34.483" v="49" actId="47"/>
        <pc:sldMkLst>
          <pc:docMk/>
          <pc:sldMk cId="1645215325" sldId="2076137293"/>
        </pc:sldMkLst>
      </pc:sldChg>
      <pc:sldChg chg="del">
        <pc:chgData name="Petri Puustinen" userId="afdc5376-b007-4d8e-9c19-07b3fbb81413" providerId="ADAL" clId="{D1983050-7001-47A3-863C-735EF5F7CA8C}" dt="2021-09-28T13:02:34.483" v="49" actId="47"/>
        <pc:sldMkLst>
          <pc:docMk/>
          <pc:sldMk cId="1789921147" sldId="2076137312"/>
        </pc:sldMkLst>
      </pc:sldChg>
      <pc:sldChg chg="del">
        <pc:chgData name="Petri Puustinen" userId="afdc5376-b007-4d8e-9c19-07b3fbb81413" providerId="ADAL" clId="{D1983050-7001-47A3-863C-735EF5F7CA8C}" dt="2021-09-28T13:02:34.483" v="49" actId="47"/>
        <pc:sldMkLst>
          <pc:docMk/>
          <pc:sldMk cId="4060591533" sldId="2076137313"/>
        </pc:sldMkLst>
      </pc:sldChg>
      <pc:sldChg chg="del">
        <pc:chgData name="Petri Puustinen" userId="afdc5376-b007-4d8e-9c19-07b3fbb81413" providerId="ADAL" clId="{D1983050-7001-47A3-863C-735EF5F7CA8C}" dt="2021-09-28T13:02:34.483" v="49" actId="47"/>
        <pc:sldMkLst>
          <pc:docMk/>
          <pc:sldMk cId="1135484257" sldId="2076137328"/>
        </pc:sldMkLst>
      </pc:sldChg>
      <pc:sldChg chg="del">
        <pc:chgData name="Petri Puustinen" userId="afdc5376-b007-4d8e-9c19-07b3fbb81413" providerId="ADAL" clId="{D1983050-7001-47A3-863C-735EF5F7CA8C}" dt="2021-09-28T13:02:34.483" v="49" actId="47"/>
        <pc:sldMkLst>
          <pc:docMk/>
          <pc:sldMk cId="2194364556" sldId="2076137329"/>
        </pc:sldMkLst>
      </pc:sldChg>
      <pc:sldChg chg="del">
        <pc:chgData name="Petri Puustinen" userId="afdc5376-b007-4d8e-9c19-07b3fbb81413" providerId="ADAL" clId="{D1983050-7001-47A3-863C-735EF5F7CA8C}" dt="2021-09-28T13:02:34.483" v="49" actId="47"/>
        <pc:sldMkLst>
          <pc:docMk/>
          <pc:sldMk cId="3907366946" sldId="2076137562"/>
        </pc:sldMkLst>
      </pc:sldChg>
      <pc:sldChg chg="del">
        <pc:chgData name="Petri Puustinen" userId="afdc5376-b007-4d8e-9c19-07b3fbb81413" providerId="ADAL" clId="{D1983050-7001-47A3-863C-735EF5F7CA8C}" dt="2021-09-28T13:02:34.483" v="49" actId="47"/>
        <pc:sldMkLst>
          <pc:docMk/>
          <pc:sldMk cId="3515977864" sldId="2076137617"/>
        </pc:sldMkLst>
      </pc:sldChg>
      <pc:sldChg chg="addSp delSp modSp mod">
        <pc:chgData name="Petri Puustinen" userId="afdc5376-b007-4d8e-9c19-07b3fbb81413" providerId="ADAL" clId="{D1983050-7001-47A3-863C-735EF5F7CA8C}" dt="2021-10-10T15:27:53.874" v="56" actId="478"/>
        <pc:sldMkLst>
          <pc:docMk/>
          <pc:sldMk cId="1072057065" sldId="2076137618"/>
        </pc:sldMkLst>
        <pc:spChg chg="add del mod">
          <ac:chgData name="Petri Puustinen" userId="afdc5376-b007-4d8e-9c19-07b3fbb81413" providerId="ADAL" clId="{D1983050-7001-47A3-863C-735EF5F7CA8C}" dt="2021-10-10T15:27:53.874" v="56" actId="478"/>
          <ac:spMkLst>
            <pc:docMk/>
            <pc:sldMk cId="1072057065" sldId="2076137618"/>
            <ac:spMk id="5" creationId="{8CBC8266-D444-4D6D-9DE1-D607347CC374}"/>
          </ac:spMkLst>
        </pc:spChg>
        <pc:spChg chg="mod">
          <ac:chgData name="Petri Puustinen" userId="afdc5376-b007-4d8e-9c19-07b3fbb81413" providerId="ADAL" clId="{D1983050-7001-47A3-863C-735EF5F7CA8C}" dt="2021-09-28T13:02:14.718" v="48" actId="20577"/>
          <ac:spMkLst>
            <pc:docMk/>
            <pc:sldMk cId="1072057065" sldId="2076137618"/>
            <ac:spMk id="26" creationId="{F5DA9B90-3150-4081-97B3-AB4410A435E7}"/>
          </ac:spMkLst>
        </pc:spChg>
        <pc:spChg chg="del">
          <ac:chgData name="Petri Puustinen" userId="afdc5376-b007-4d8e-9c19-07b3fbb81413" providerId="ADAL" clId="{D1983050-7001-47A3-863C-735EF5F7CA8C}" dt="2021-10-10T15:27:52.322" v="54" actId="478"/>
          <ac:spMkLst>
            <pc:docMk/>
            <pc:sldMk cId="1072057065" sldId="2076137618"/>
            <ac:spMk id="35" creationId="{A9E6FA58-A6A9-4692-8EAE-E71FD8143CDB}"/>
          </ac:spMkLst>
        </pc:spChg>
      </pc:sldChg>
      <pc:sldChg chg="modSp mod">
        <pc:chgData name="Petri Puustinen" userId="afdc5376-b007-4d8e-9c19-07b3fbb81413" providerId="ADAL" clId="{D1983050-7001-47A3-863C-735EF5F7CA8C}" dt="2021-10-22T14:16:46.098" v="65" actId="20577"/>
        <pc:sldMkLst>
          <pc:docMk/>
          <pc:sldMk cId="1093562965" sldId="2076137621"/>
        </pc:sldMkLst>
        <pc:spChg chg="mod">
          <ac:chgData name="Petri Puustinen" userId="afdc5376-b007-4d8e-9c19-07b3fbb81413" providerId="ADAL" clId="{D1983050-7001-47A3-863C-735EF5F7CA8C}" dt="2021-10-22T14:16:46.098" v="65" actId="20577"/>
          <ac:spMkLst>
            <pc:docMk/>
            <pc:sldMk cId="1093562965" sldId="2076137621"/>
            <ac:spMk id="89" creationId="{6DFCCA6C-615F-4B94-A5A4-F83A94E7F4CE}"/>
          </ac:spMkLst>
        </pc:spChg>
      </pc:sldChg>
      <pc:sldChg chg="del">
        <pc:chgData name="Petri Puustinen" userId="afdc5376-b007-4d8e-9c19-07b3fbb81413" providerId="ADAL" clId="{D1983050-7001-47A3-863C-735EF5F7CA8C}" dt="2021-09-28T13:02:34.483" v="49" actId="47"/>
        <pc:sldMkLst>
          <pc:docMk/>
          <pc:sldMk cId="3544644738" sldId="2076137627"/>
        </pc:sldMkLst>
      </pc:sldChg>
      <pc:sldChg chg="del">
        <pc:chgData name="Petri Puustinen" userId="afdc5376-b007-4d8e-9c19-07b3fbb81413" providerId="ADAL" clId="{D1983050-7001-47A3-863C-735EF5F7CA8C}" dt="2021-09-28T13:02:34.483" v="49" actId="47"/>
        <pc:sldMkLst>
          <pc:docMk/>
          <pc:sldMk cId="3335091078" sldId="2076137631"/>
        </pc:sldMkLst>
      </pc:sldChg>
      <pc:sldChg chg="addSp delSp modSp mod addAnim delAnim">
        <pc:chgData name="Petri Puustinen" userId="afdc5376-b007-4d8e-9c19-07b3fbb81413" providerId="ADAL" clId="{D1983050-7001-47A3-863C-735EF5F7CA8C}" dt="2021-10-25T05:19:59.745" v="358" actId="1035"/>
        <pc:sldMkLst>
          <pc:docMk/>
          <pc:sldMk cId="456690309" sldId="2076137632"/>
        </pc:sldMkLst>
        <pc:spChg chg="mod">
          <ac:chgData name="Petri Puustinen" userId="afdc5376-b007-4d8e-9c19-07b3fbb81413" providerId="ADAL" clId="{D1983050-7001-47A3-863C-735EF5F7CA8C}" dt="2021-10-25T05:17:24.443" v="109" actId="14100"/>
          <ac:spMkLst>
            <pc:docMk/>
            <pc:sldMk cId="456690309" sldId="2076137632"/>
            <ac:spMk id="29" creationId="{DDA028CA-9ED2-40D9-8F21-3FCE3D5B6D1E}"/>
          </ac:spMkLst>
        </pc:spChg>
        <pc:spChg chg="mod">
          <ac:chgData name="Petri Puustinen" userId="afdc5376-b007-4d8e-9c19-07b3fbb81413" providerId="ADAL" clId="{D1983050-7001-47A3-863C-735EF5F7CA8C}" dt="2021-10-25T05:19:05.962" v="314" actId="1038"/>
          <ac:spMkLst>
            <pc:docMk/>
            <pc:sldMk cId="456690309" sldId="2076137632"/>
            <ac:spMk id="30" creationId="{29EAFBA8-4612-4297-8699-F82DD91E6C10}"/>
          </ac:spMkLst>
        </pc:spChg>
        <pc:spChg chg="mod">
          <ac:chgData name="Petri Puustinen" userId="afdc5376-b007-4d8e-9c19-07b3fbb81413" providerId="ADAL" clId="{D1983050-7001-47A3-863C-735EF5F7CA8C}" dt="2021-10-25T05:16:36.156" v="106" actId="20577"/>
          <ac:spMkLst>
            <pc:docMk/>
            <pc:sldMk cId="456690309" sldId="2076137632"/>
            <ac:spMk id="32" creationId="{E33E6580-DDC2-4FA7-A49F-D412ADEC839F}"/>
          </ac:spMkLst>
        </pc:spChg>
        <pc:spChg chg="mod">
          <ac:chgData name="Petri Puustinen" userId="afdc5376-b007-4d8e-9c19-07b3fbb81413" providerId="ADAL" clId="{D1983050-7001-47A3-863C-735EF5F7CA8C}" dt="2021-10-25T05:19:29.672" v="333" actId="14100"/>
          <ac:spMkLst>
            <pc:docMk/>
            <pc:sldMk cId="456690309" sldId="2076137632"/>
            <ac:spMk id="33" creationId="{3D0752E1-45BA-48F9-ACEE-F2811EFFF76A}"/>
          </ac:spMkLst>
        </pc:spChg>
        <pc:spChg chg="mod">
          <ac:chgData name="Petri Puustinen" userId="afdc5376-b007-4d8e-9c19-07b3fbb81413" providerId="ADAL" clId="{D1983050-7001-47A3-863C-735EF5F7CA8C}" dt="2021-10-25T05:19:23.882" v="332" actId="14100"/>
          <ac:spMkLst>
            <pc:docMk/>
            <pc:sldMk cId="456690309" sldId="2076137632"/>
            <ac:spMk id="34" creationId="{E750DB01-2FCF-4A0B-992E-523A6D697476}"/>
          </ac:spMkLst>
        </pc:spChg>
        <pc:spChg chg="mod">
          <ac:chgData name="Petri Puustinen" userId="afdc5376-b007-4d8e-9c19-07b3fbb81413" providerId="ADAL" clId="{D1983050-7001-47A3-863C-735EF5F7CA8C}" dt="2021-10-25T05:17:46.673" v="128" actId="1076"/>
          <ac:spMkLst>
            <pc:docMk/>
            <pc:sldMk cId="456690309" sldId="2076137632"/>
            <ac:spMk id="38" creationId="{FDDF3E15-CDF2-40E5-8762-2033E73D4355}"/>
          </ac:spMkLst>
        </pc:spChg>
        <pc:spChg chg="add del mod">
          <ac:chgData name="Petri Puustinen" userId="afdc5376-b007-4d8e-9c19-07b3fbb81413" providerId="ADAL" clId="{D1983050-7001-47A3-863C-735EF5F7CA8C}" dt="2021-10-25T05:18:21.968" v="220" actId="1038"/>
          <ac:spMkLst>
            <pc:docMk/>
            <pc:sldMk cId="456690309" sldId="2076137632"/>
            <ac:spMk id="55" creationId="{F370C7E5-A091-43A7-9209-393D2C1B96AE}"/>
          </ac:spMkLst>
        </pc:spChg>
        <pc:spChg chg="mod">
          <ac:chgData name="Petri Puustinen" userId="afdc5376-b007-4d8e-9c19-07b3fbb81413" providerId="ADAL" clId="{D1983050-7001-47A3-863C-735EF5F7CA8C}" dt="2021-10-25T05:18:58.442" v="300" actId="1037"/>
          <ac:spMkLst>
            <pc:docMk/>
            <pc:sldMk cId="456690309" sldId="2076137632"/>
            <ac:spMk id="57" creationId="{6D0D7997-0844-4697-BDDA-AFA118F33CF4}"/>
          </ac:spMkLst>
        </pc:spChg>
        <pc:spChg chg="mod">
          <ac:chgData name="Petri Puustinen" userId="afdc5376-b007-4d8e-9c19-07b3fbb81413" providerId="ADAL" clId="{D1983050-7001-47A3-863C-735EF5F7CA8C}" dt="2021-10-25T05:17:54.945" v="143" actId="1038"/>
          <ac:spMkLst>
            <pc:docMk/>
            <pc:sldMk cId="456690309" sldId="2076137632"/>
            <ac:spMk id="58" creationId="{1FBFA282-5C1F-4AB7-91AA-ABDA043180B2}"/>
          </ac:spMkLst>
        </pc:spChg>
        <pc:spChg chg="add del">
          <ac:chgData name="Petri Puustinen" userId="afdc5376-b007-4d8e-9c19-07b3fbb81413" providerId="ADAL" clId="{D1983050-7001-47A3-863C-735EF5F7CA8C}" dt="2021-10-25T05:19:48.923" v="335" actId="478"/>
          <ac:spMkLst>
            <pc:docMk/>
            <pc:sldMk cId="456690309" sldId="2076137632"/>
            <ac:spMk id="76" creationId="{C4415DB2-9D89-44CD-92D1-D9FC534788E5}"/>
          </ac:spMkLst>
        </pc:spChg>
        <pc:grpChg chg="mod">
          <ac:chgData name="Petri Puustinen" userId="afdc5376-b007-4d8e-9c19-07b3fbb81413" providerId="ADAL" clId="{D1983050-7001-47A3-863C-735EF5F7CA8C}" dt="2021-10-25T05:19:18.955" v="331" actId="14100"/>
          <ac:grpSpMkLst>
            <pc:docMk/>
            <pc:sldMk cId="456690309" sldId="2076137632"/>
            <ac:grpSpMk id="31" creationId="{DA0FF26F-E7CD-4C47-8874-763375B6F8BB}"/>
          </ac:grpSpMkLst>
        </pc:grpChg>
        <pc:grpChg chg="add del">
          <ac:chgData name="Petri Puustinen" userId="afdc5376-b007-4d8e-9c19-07b3fbb81413" providerId="ADAL" clId="{D1983050-7001-47A3-863C-735EF5F7CA8C}" dt="2021-10-25T05:18:16.473" v="201" actId="478"/>
          <ac:grpSpMkLst>
            <pc:docMk/>
            <pc:sldMk cId="456690309" sldId="2076137632"/>
            <ac:grpSpMk id="54" creationId="{13B5ECDA-D3F4-469E-A364-447B62B27137}"/>
          </ac:grpSpMkLst>
        </pc:grpChg>
        <pc:grpChg chg="mod">
          <ac:chgData name="Petri Puustinen" userId="afdc5376-b007-4d8e-9c19-07b3fbb81413" providerId="ADAL" clId="{D1983050-7001-47A3-863C-735EF5F7CA8C}" dt="2021-10-25T05:18:16.473" v="201" actId="478"/>
          <ac:grpSpMkLst>
            <pc:docMk/>
            <pc:sldMk cId="456690309" sldId="2076137632"/>
            <ac:grpSpMk id="56" creationId="{2DC88364-F784-48BB-B949-E33BD7CD8BC7}"/>
          </ac:grpSpMkLst>
        </pc:grpChg>
        <pc:grpChg chg="mod">
          <ac:chgData name="Petri Puustinen" userId="afdc5376-b007-4d8e-9c19-07b3fbb81413" providerId="ADAL" clId="{D1983050-7001-47A3-863C-735EF5F7CA8C}" dt="2021-10-25T05:17:15.793" v="108" actId="14100"/>
          <ac:grpSpMkLst>
            <pc:docMk/>
            <pc:sldMk cId="456690309" sldId="2076137632"/>
            <ac:grpSpMk id="59" creationId="{99E8C2F0-B290-4B4C-A5D1-C55F6451BDCA}"/>
          </ac:grpSpMkLst>
        </pc:grpChg>
        <pc:grpChg chg="mod">
          <ac:chgData name="Petri Puustinen" userId="afdc5376-b007-4d8e-9c19-07b3fbb81413" providerId="ADAL" clId="{D1983050-7001-47A3-863C-735EF5F7CA8C}" dt="2021-10-25T05:19:59.745" v="358" actId="1035"/>
          <ac:grpSpMkLst>
            <pc:docMk/>
            <pc:sldMk cId="456690309" sldId="2076137632"/>
            <ac:grpSpMk id="66" creationId="{8A7D691A-878E-4899-8367-D409D57FA273}"/>
          </ac:grpSpMkLst>
        </pc:grpChg>
        <pc:grpChg chg="mod">
          <ac:chgData name="Petri Puustinen" userId="afdc5376-b007-4d8e-9c19-07b3fbb81413" providerId="ADAL" clId="{D1983050-7001-47A3-863C-735EF5F7CA8C}" dt="2021-10-25T05:19:59.745" v="358" actId="1035"/>
          <ac:grpSpMkLst>
            <pc:docMk/>
            <pc:sldMk cId="456690309" sldId="2076137632"/>
            <ac:grpSpMk id="71" creationId="{A9416006-B953-4F3E-9ADB-1FA6C60FE8A6}"/>
          </ac:grpSpMkLst>
        </pc:grpChg>
        <pc:grpChg chg="add del mod">
          <ac:chgData name="Petri Puustinen" userId="afdc5376-b007-4d8e-9c19-07b3fbb81413" providerId="ADAL" clId="{D1983050-7001-47A3-863C-735EF5F7CA8C}" dt="2021-10-25T05:19:59.745" v="358" actId="1035"/>
          <ac:grpSpMkLst>
            <pc:docMk/>
            <pc:sldMk cId="456690309" sldId="2076137632"/>
            <ac:grpSpMk id="85" creationId="{54200472-D3EC-4B41-82AB-A867855BB3F2}"/>
          </ac:grpSpMkLst>
        </pc:grpChg>
        <pc:grpChg chg="add del mod">
          <ac:chgData name="Petri Puustinen" userId="afdc5376-b007-4d8e-9c19-07b3fbb81413" providerId="ADAL" clId="{D1983050-7001-47A3-863C-735EF5F7CA8C}" dt="2021-10-25T05:19:59.745" v="358" actId="1035"/>
          <ac:grpSpMkLst>
            <pc:docMk/>
            <pc:sldMk cId="456690309" sldId="2076137632"/>
            <ac:grpSpMk id="86" creationId="{8D8EC766-213A-459A-BF65-D5AB6B3558B6}"/>
          </ac:grpSpMkLst>
        </pc:grpChg>
        <pc:cxnChg chg="mod">
          <ac:chgData name="Petri Puustinen" userId="afdc5376-b007-4d8e-9c19-07b3fbb81413" providerId="ADAL" clId="{D1983050-7001-47A3-863C-735EF5F7CA8C}" dt="2021-10-25T05:18:51.043" v="271" actId="1038"/>
          <ac:cxnSpMkLst>
            <pc:docMk/>
            <pc:sldMk cId="456690309" sldId="2076137632"/>
            <ac:cxnSpMk id="43" creationId="{4BF545AB-F632-4FF9-840A-253CA9A6D877}"/>
          </ac:cxnSpMkLst>
        </pc:cxnChg>
        <pc:cxnChg chg="mod">
          <ac:chgData name="Petri Puustinen" userId="afdc5376-b007-4d8e-9c19-07b3fbb81413" providerId="ADAL" clId="{D1983050-7001-47A3-863C-735EF5F7CA8C}" dt="2021-10-25T05:19:12.113" v="328" actId="1038"/>
          <ac:cxnSpMkLst>
            <pc:docMk/>
            <pc:sldMk cId="456690309" sldId="2076137632"/>
            <ac:cxnSpMk id="61" creationId="{EA7FA47E-ECDF-4192-BA13-6465FE53ED1A}"/>
          </ac:cxnSpMkLst>
        </pc:cxnChg>
      </pc:sldChg>
      <pc:sldChg chg="del">
        <pc:chgData name="Petri Puustinen" userId="afdc5376-b007-4d8e-9c19-07b3fbb81413" providerId="ADAL" clId="{D1983050-7001-47A3-863C-735EF5F7CA8C}" dt="2021-09-28T13:02:34.483" v="49" actId="47"/>
        <pc:sldMkLst>
          <pc:docMk/>
          <pc:sldMk cId="1465320343" sldId="2076137633"/>
        </pc:sldMkLst>
      </pc:sldChg>
      <pc:sldChg chg="del">
        <pc:chgData name="Petri Puustinen" userId="afdc5376-b007-4d8e-9c19-07b3fbb81413" providerId="ADAL" clId="{D1983050-7001-47A3-863C-735EF5F7CA8C}" dt="2021-09-28T13:02:34.483" v="49" actId="47"/>
        <pc:sldMkLst>
          <pc:docMk/>
          <pc:sldMk cId="1206780609" sldId="2076137634"/>
        </pc:sldMkLst>
      </pc:sldChg>
      <pc:sldChg chg="del">
        <pc:chgData name="Petri Puustinen" userId="afdc5376-b007-4d8e-9c19-07b3fbb81413" providerId="ADAL" clId="{D1983050-7001-47A3-863C-735EF5F7CA8C}" dt="2021-09-28T13:02:34.483" v="49" actId="47"/>
        <pc:sldMkLst>
          <pc:docMk/>
          <pc:sldMk cId="1795078795" sldId="2076137635"/>
        </pc:sldMkLst>
      </pc:sldChg>
      <pc:sldChg chg="del">
        <pc:chgData name="Petri Puustinen" userId="afdc5376-b007-4d8e-9c19-07b3fbb81413" providerId="ADAL" clId="{D1983050-7001-47A3-863C-735EF5F7CA8C}" dt="2021-09-28T13:02:34.483" v="49" actId="47"/>
        <pc:sldMkLst>
          <pc:docMk/>
          <pc:sldMk cId="3786275086" sldId="2076137636"/>
        </pc:sldMkLst>
      </pc:sldChg>
      <pc:sldChg chg="del">
        <pc:chgData name="Petri Puustinen" userId="afdc5376-b007-4d8e-9c19-07b3fbb81413" providerId="ADAL" clId="{D1983050-7001-47A3-863C-735EF5F7CA8C}" dt="2021-09-28T13:02:34.483" v="49" actId="47"/>
        <pc:sldMkLst>
          <pc:docMk/>
          <pc:sldMk cId="1793243589" sldId="2076137637"/>
        </pc:sldMkLst>
      </pc:sldChg>
      <pc:sldChg chg="del">
        <pc:chgData name="Petri Puustinen" userId="afdc5376-b007-4d8e-9c19-07b3fbb81413" providerId="ADAL" clId="{D1983050-7001-47A3-863C-735EF5F7CA8C}" dt="2021-09-28T13:02:34.483" v="49" actId="47"/>
        <pc:sldMkLst>
          <pc:docMk/>
          <pc:sldMk cId="1152520693" sldId="2076137638"/>
        </pc:sldMkLst>
      </pc:sldChg>
      <pc:sldChg chg="del">
        <pc:chgData name="Petri Puustinen" userId="afdc5376-b007-4d8e-9c19-07b3fbb81413" providerId="ADAL" clId="{D1983050-7001-47A3-863C-735EF5F7CA8C}" dt="2021-09-28T13:02:34.483" v="49" actId="47"/>
        <pc:sldMkLst>
          <pc:docMk/>
          <pc:sldMk cId="341860283" sldId="2076137639"/>
        </pc:sldMkLst>
      </pc:sldChg>
      <pc:sldChg chg="del">
        <pc:chgData name="Petri Puustinen" userId="afdc5376-b007-4d8e-9c19-07b3fbb81413" providerId="ADAL" clId="{D1983050-7001-47A3-863C-735EF5F7CA8C}" dt="2021-09-28T13:02:34.483" v="49" actId="47"/>
        <pc:sldMkLst>
          <pc:docMk/>
          <pc:sldMk cId="4234859191" sldId="2076137652"/>
        </pc:sldMkLst>
      </pc:sldChg>
      <pc:sldChg chg="del">
        <pc:chgData name="Petri Puustinen" userId="afdc5376-b007-4d8e-9c19-07b3fbb81413" providerId="ADAL" clId="{D1983050-7001-47A3-863C-735EF5F7CA8C}" dt="2021-09-28T13:02:34.483" v="49" actId="47"/>
        <pc:sldMkLst>
          <pc:docMk/>
          <pc:sldMk cId="168635367" sldId="2076137657"/>
        </pc:sldMkLst>
      </pc:sldChg>
      <pc:sldChg chg="del">
        <pc:chgData name="Petri Puustinen" userId="afdc5376-b007-4d8e-9c19-07b3fbb81413" providerId="ADAL" clId="{D1983050-7001-47A3-863C-735EF5F7CA8C}" dt="2021-09-28T13:02:34.483" v="49" actId="47"/>
        <pc:sldMkLst>
          <pc:docMk/>
          <pc:sldMk cId="1542613748" sldId="2076137658"/>
        </pc:sldMkLst>
      </pc:sldChg>
      <pc:sldChg chg="del">
        <pc:chgData name="Petri Puustinen" userId="afdc5376-b007-4d8e-9c19-07b3fbb81413" providerId="ADAL" clId="{D1983050-7001-47A3-863C-735EF5F7CA8C}" dt="2021-09-28T13:02:34.483" v="49" actId="47"/>
        <pc:sldMkLst>
          <pc:docMk/>
          <pc:sldMk cId="2083698042" sldId="2076137668"/>
        </pc:sldMkLst>
      </pc:sldChg>
      <pc:sldChg chg="del">
        <pc:chgData name="Petri Puustinen" userId="afdc5376-b007-4d8e-9c19-07b3fbb81413" providerId="ADAL" clId="{D1983050-7001-47A3-863C-735EF5F7CA8C}" dt="2021-09-28T13:02:34.483" v="49" actId="47"/>
        <pc:sldMkLst>
          <pc:docMk/>
          <pc:sldMk cId="3989348292" sldId="2076137674"/>
        </pc:sldMkLst>
      </pc:sldChg>
      <pc:sldChg chg="del">
        <pc:chgData name="Petri Puustinen" userId="afdc5376-b007-4d8e-9c19-07b3fbb81413" providerId="ADAL" clId="{D1983050-7001-47A3-863C-735EF5F7CA8C}" dt="2021-09-28T13:02:34.483" v="49" actId="47"/>
        <pc:sldMkLst>
          <pc:docMk/>
          <pc:sldMk cId="1383211571" sldId="2076137676"/>
        </pc:sldMkLst>
      </pc:sldChg>
      <pc:sldChg chg="del">
        <pc:chgData name="Petri Puustinen" userId="afdc5376-b007-4d8e-9c19-07b3fbb81413" providerId="ADAL" clId="{D1983050-7001-47A3-863C-735EF5F7CA8C}" dt="2021-09-28T13:02:34.483" v="49" actId="47"/>
        <pc:sldMkLst>
          <pc:docMk/>
          <pc:sldMk cId="3761227547" sldId="2076137678"/>
        </pc:sldMkLst>
      </pc:sldChg>
      <pc:sldChg chg="del">
        <pc:chgData name="Petri Puustinen" userId="afdc5376-b007-4d8e-9c19-07b3fbb81413" providerId="ADAL" clId="{D1983050-7001-47A3-863C-735EF5F7CA8C}" dt="2021-09-28T13:02:34.483" v="49" actId="47"/>
        <pc:sldMkLst>
          <pc:docMk/>
          <pc:sldMk cId="3330015829" sldId="2076137680"/>
        </pc:sldMkLst>
      </pc:sldChg>
      <pc:sldChg chg="del">
        <pc:chgData name="Petri Puustinen" userId="afdc5376-b007-4d8e-9c19-07b3fbb81413" providerId="ADAL" clId="{D1983050-7001-47A3-863C-735EF5F7CA8C}" dt="2021-09-28T13:02:34.483" v="49" actId="47"/>
        <pc:sldMkLst>
          <pc:docMk/>
          <pc:sldMk cId="1698660607" sldId="2076137681"/>
        </pc:sldMkLst>
      </pc:sldChg>
      <pc:sldChg chg="del">
        <pc:chgData name="Petri Puustinen" userId="afdc5376-b007-4d8e-9c19-07b3fbb81413" providerId="ADAL" clId="{D1983050-7001-47A3-863C-735EF5F7CA8C}" dt="2021-09-28T13:02:34.483" v="49" actId="47"/>
        <pc:sldMkLst>
          <pc:docMk/>
          <pc:sldMk cId="2018644057" sldId="2076137854"/>
        </pc:sldMkLst>
      </pc:sldChg>
      <pc:sldChg chg="del">
        <pc:chgData name="Petri Puustinen" userId="afdc5376-b007-4d8e-9c19-07b3fbb81413" providerId="ADAL" clId="{D1983050-7001-47A3-863C-735EF5F7CA8C}" dt="2021-09-28T13:02:34.483" v="49" actId="47"/>
        <pc:sldMkLst>
          <pc:docMk/>
          <pc:sldMk cId="1742245234" sldId="2076137879"/>
        </pc:sldMkLst>
      </pc:sldChg>
      <pc:sldChg chg="del">
        <pc:chgData name="Petri Puustinen" userId="afdc5376-b007-4d8e-9c19-07b3fbb81413" providerId="ADAL" clId="{D1983050-7001-47A3-863C-735EF5F7CA8C}" dt="2021-09-28T13:02:34.483" v="49" actId="47"/>
        <pc:sldMkLst>
          <pc:docMk/>
          <pc:sldMk cId="742637607" sldId="2076137880"/>
        </pc:sldMkLst>
      </pc:sldChg>
      <pc:sldChg chg="del">
        <pc:chgData name="Petri Puustinen" userId="afdc5376-b007-4d8e-9c19-07b3fbb81413" providerId="ADAL" clId="{D1983050-7001-47A3-863C-735EF5F7CA8C}" dt="2021-09-28T13:02:34.483" v="49" actId="47"/>
        <pc:sldMkLst>
          <pc:docMk/>
          <pc:sldMk cId="919255805" sldId="2076137889"/>
        </pc:sldMkLst>
      </pc:sldChg>
      <pc:sldChg chg="del">
        <pc:chgData name="Petri Puustinen" userId="afdc5376-b007-4d8e-9c19-07b3fbb81413" providerId="ADAL" clId="{D1983050-7001-47A3-863C-735EF5F7CA8C}" dt="2021-09-28T13:02:34.483" v="49" actId="47"/>
        <pc:sldMkLst>
          <pc:docMk/>
          <pc:sldMk cId="1579838112" sldId="2076137890"/>
        </pc:sldMkLst>
      </pc:sldChg>
      <pc:sldChg chg="del">
        <pc:chgData name="Petri Puustinen" userId="afdc5376-b007-4d8e-9c19-07b3fbb81413" providerId="ADAL" clId="{D1983050-7001-47A3-863C-735EF5F7CA8C}" dt="2021-09-28T13:02:34.483" v="49" actId="47"/>
        <pc:sldMkLst>
          <pc:docMk/>
          <pc:sldMk cId="3790579323" sldId="2076137994"/>
        </pc:sldMkLst>
      </pc:sldChg>
      <pc:sldChg chg="del">
        <pc:chgData name="Petri Puustinen" userId="afdc5376-b007-4d8e-9c19-07b3fbb81413" providerId="ADAL" clId="{D1983050-7001-47A3-863C-735EF5F7CA8C}" dt="2021-09-28T13:02:34.483" v="49" actId="47"/>
        <pc:sldMkLst>
          <pc:docMk/>
          <pc:sldMk cId="1655899921" sldId="2076137995"/>
        </pc:sldMkLst>
      </pc:sldChg>
      <pc:sldChg chg="del">
        <pc:chgData name="Petri Puustinen" userId="afdc5376-b007-4d8e-9c19-07b3fbb81413" providerId="ADAL" clId="{D1983050-7001-47A3-863C-735EF5F7CA8C}" dt="2021-09-28T13:02:34.483" v="49" actId="47"/>
        <pc:sldMkLst>
          <pc:docMk/>
          <pc:sldMk cId="1924187473" sldId="2076137996"/>
        </pc:sldMkLst>
      </pc:sldChg>
      <pc:sldChg chg="del">
        <pc:chgData name="Petri Puustinen" userId="afdc5376-b007-4d8e-9c19-07b3fbb81413" providerId="ADAL" clId="{D1983050-7001-47A3-863C-735EF5F7CA8C}" dt="2021-09-28T13:02:34.483" v="49" actId="47"/>
        <pc:sldMkLst>
          <pc:docMk/>
          <pc:sldMk cId="4112154765" sldId="2076137997"/>
        </pc:sldMkLst>
      </pc:sldChg>
      <pc:sldChg chg="del">
        <pc:chgData name="Petri Puustinen" userId="afdc5376-b007-4d8e-9c19-07b3fbb81413" providerId="ADAL" clId="{D1983050-7001-47A3-863C-735EF5F7CA8C}" dt="2021-09-28T13:02:34.483" v="49" actId="47"/>
        <pc:sldMkLst>
          <pc:docMk/>
          <pc:sldMk cId="500129899" sldId="2076137998"/>
        </pc:sldMkLst>
      </pc:sldChg>
      <pc:sldChg chg="del">
        <pc:chgData name="Petri Puustinen" userId="afdc5376-b007-4d8e-9c19-07b3fbb81413" providerId="ADAL" clId="{D1983050-7001-47A3-863C-735EF5F7CA8C}" dt="2021-09-28T13:02:34.483" v="49" actId="47"/>
        <pc:sldMkLst>
          <pc:docMk/>
          <pc:sldMk cId="1993637173" sldId="2076138003"/>
        </pc:sldMkLst>
      </pc:sldChg>
      <pc:sldChg chg="del">
        <pc:chgData name="Petri Puustinen" userId="afdc5376-b007-4d8e-9c19-07b3fbb81413" providerId="ADAL" clId="{D1983050-7001-47A3-863C-735EF5F7CA8C}" dt="2021-09-28T13:02:34.483" v="49" actId="47"/>
        <pc:sldMkLst>
          <pc:docMk/>
          <pc:sldMk cId="4162115285" sldId="2076138004"/>
        </pc:sldMkLst>
      </pc:sldChg>
      <pc:sldChg chg="del">
        <pc:chgData name="Petri Puustinen" userId="afdc5376-b007-4d8e-9c19-07b3fbb81413" providerId="ADAL" clId="{D1983050-7001-47A3-863C-735EF5F7CA8C}" dt="2021-09-28T13:02:34.483" v="49" actId="47"/>
        <pc:sldMkLst>
          <pc:docMk/>
          <pc:sldMk cId="1380573680" sldId="2076138011"/>
        </pc:sldMkLst>
      </pc:sldChg>
      <pc:sldChg chg="del">
        <pc:chgData name="Petri Puustinen" userId="afdc5376-b007-4d8e-9c19-07b3fbb81413" providerId="ADAL" clId="{D1983050-7001-47A3-863C-735EF5F7CA8C}" dt="2021-09-28T13:02:34.483" v="49" actId="47"/>
        <pc:sldMkLst>
          <pc:docMk/>
          <pc:sldMk cId="1519455477" sldId="2076138019"/>
        </pc:sldMkLst>
      </pc:sldChg>
      <pc:sldChg chg="del">
        <pc:chgData name="Petri Puustinen" userId="afdc5376-b007-4d8e-9c19-07b3fbb81413" providerId="ADAL" clId="{D1983050-7001-47A3-863C-735EF5F7CA8C}" dt="2021-09-28T13:02:34.483" v="49" actId="47"/>
        <pc:sldMkLst>
          <pc:docMk/>
          <pc:sldMk cId="2722499544" sldId="2076138020"/>
        </pc:sldMkLst>
      </pc:sldChg>
      <pc:sldChg chg="del">
        <pc:chgData name="Petri Puustinen" userId="afdc5376-b007-4d8e-9c19-07b3fbb81413" providerId="ADAL" clId="{D1983050-7001-47A3-863C-735EF5F7CA8C}" dt="2021-09-28T13:02:34.483" v="49" actId="47"/>
        <pc:sldMkLst>
          <pc:docMk/>
          <pc:sldMk cId="567465239" sldId="2076138021"/>
        </pc:sldMkLst>
      </pc:sldChg>
      <pc:sldChg chg="del">
        <pc:chgData name="Petri Puustinen" userId="afdc5376-b007-4d8e-9c19-07b3fbb81413" providerId="ADAL" clId="{D1983050-7001-47A3-863C-735EF5F7CA8C}" dt="2021-09-28T13:02:34.483" v="49" actId="47"/>
        <pc:sldMkLst>
          <pc:docMk/>
          <pc:sldMk cId="4042167281" sldId="2076138023"/>
        </pc:sldMkLst>
      </pc:sldChg>
      <pc:sldChg chg="del">
        <pc:chgData name="Petri Puustinen" userId="afdc5376-b007-4d8e-9c19-07b3fbb81413" providerId="ADAL" clId="{D1983050-7001-47A3-863C-735EF5F7CA8C}" dt="2021-09-28T13:02:34.483" v="49" actId="47"/>
        <pc:sldMkLst>
          <pc:docMk/>
          <pc:sldMk cId="838118441" sldId="2076138024"/>
        </pc:sldMkLst>
      </pc:sldChg>
      <pc:sldChg chg="del">
        <pc:chgData name="Petri Puustinen" userId="afdc5376-b007-4d8e-9c19-07b3fbb81413" providerId="ADAL" clId="{D1983050-7001-47A3-863C-735EF5F7CA8C}" dt="2021-09-28T13:02:34.483" v="49" actId="47"/>
        <pc:sldMkLst>
          <pc:docMk/>
          <pc:sldMk cId="1099248819" sldId="2076138025"/>
        </pc:sldMkLst>
      </pc:sldChg>
      <pc:sldChg chg="del">
        <pc:chgData name="Petri Puustinen" userId="afdc5376-b007-4d8e-9c19-07b3fbb81413" providerId="ADAL" clId="{D1983050-7001-47A3-863C-735EF5F7CA8C}" dt="2021-09-28T13:02:34.483" v="49" actId="47"/>
        <pc:sldMkLst>
          <pc:docMk/>
          <pc:sldMk cId="185099243" sldId="2076138026"/>
        </pc:sldMkLst>
      </pc:sldChg>
      <pc:sldChg chg="del">
        <pc:chgData name="Petri Puustinen" userId="afdc5376-b007-4d8e-9c19-07b3fbb81413" providerId="ADAL" clId="{D1983050-7001-47A3-863C-735EF5F7CA8C}" dt="2021-09-28T13:02:34.483" v="49" actId="47"/>
        <pc:sldMkLst>
          <pc:docMk/>
          <pc:sldMk cId="4283761789" sldId="2076138027"/>
        </pc:sldMkLst>
      </pc:sldChg>
      <pc:sldChg chg="del">
        <pc:chgData name="Petri Puustinen" userId="afdc5376-b007-4d8e-9c19-07b3fbb81413" providerId="ADAL" clId="{D1983050-7001-47A3-863C-735EF5F7CA8C}" dt="2021-09-28T13:02:34.483" v="49" actId="47"/>
        <pc:sldMkLst>
          <pc:docMk/>
          <pc:sldMk cId="793420717" sldId="2076138029"/>
        </pc:sldMkLst>
      </pc:sldChg>
      <pc:sldChg chg="del">
        <pc:chgData name="Petri Puustinen" userId="afdc5376-b007-4d8e-9c19-07b3fbb81413" providerId="ADAL" clId="{D1983050-7001-47A3-863C-735EF5F7CA8C}" dt="2021-09-28T13:02:34.483" v="49" actId="47"/>
        <pc:sldMkLst>
          <pc:docMk/>
          <pc:sldMk cId="20270850" sldId="2076138030"/>
        </pc:sldMkLst>
      </pc:sldChg>
      <pc:sldChg chg="del">
        <pc:chgData name="Petri Puustinen" userId="afdc5376-b007-4d8e-9c19-07b3fbb81413" providerId="ADAL" clId="{D1983050-7001-47A3-863C-735EF5F7CA8C}" dt="2021-09-28T13:02:34.483" v="49" actId="47"/>
        <pc:sldMkLst>
          <pc:docMk/>
          <pc:sldMk cId="3632653120" sldId="2076138031"/>
        </pc:sldMkLst>
      </pc:sldChg>
      <pc:sldChg chg="del">
        <pc:chgData name="Petri Puustinen" userId="afdc5376-b007-4d8e-9c19-07b3fbb81413" providerId="ADAL" clId="{D1983050-7001-47A3-863C-735EF5F7CA8C}" dt="2021-09-28T13:02:34.483" v="49" actId="47"/>
        <pc:sldMkLst>
          <pc:docMk/>
          <pc:sldMk cId="2269263858" sldId="2076138032"/>
        </pc:sldMkLst>
      </pc:sldChg>
      <pc:sldChg chg="del">
        <pc:chgData name="Petri Puustinen" userId="afdc5376-b007-4d8e-9c19-07b3fbb81413" providerId="ADAL" clId="{D1983050-7001-47A3-863C-735EF5F7CA8C}" dt="2021-09-28T13:02:34.483" v="49" actId="47"/>
        <pc:sldMkLst>
          <pc:docMk/>
          <pc:sldMk cId="1199371310" sldId="2076138033"/>
        </pc:sldMkLst>
      </pc:sldChg>
      <pc:sldChg chg="del">
        <pc:chgData name="Petri Puustinen" userId="afdc5376-b007-4d8e-9c19-07b3fbb81413" providerId="ADAL" clId="{D1983050-7001-47A3-863C-735EF5F7CA8C}" dt="2021-09-28T13:02:34.483" v="49" actId="47"/>
        <pc:sldMkLst>
          <pc:docMk/>
          <pc:sldMk cId="1574915157" sldId="2076138611"/>
        </pc:sldMkLst>
      </pc:sldChg>
      <pc:sldChg chg="del">
        <pc:chgData name="Petri Puustinen" userId="afdc5376-b007-4d8e-9c19-07b3fbb81413" providerId="ADAL" clId="{D1983050-7001-47A3-863C-735EF5F7CA8C}" dt="2021-09-28T13:02:34.483" v="49" actId="47"/>
        <pc:sldMkLst>
          <pc:docMk/>
          <pc:sldMk cId="2803517050" sldId="2076138613"/>
        </pc:sldMkLst>
      </pc:sldChg>
      <pc:sldChg chg="del">
        <pc:chgData name="Petri Puustinen" userId="afdc5376-b007-4d8e-9c19-07b3fbb81413" providerId="ADAL" clId="{D1983050-7001-47A3-863C-735EF5F7CA8C}" dt="2021-09-28T13:02:34.483" v="49" actId="47"/>
        <pc:sldMkLst>
          <pc:docMk/>
          <pc:sldMk cId="2133725747" sldId="2076138615"/>
        </pc:sldMkLst>
      </pc:sldChg>
      <pc:sldChg chg="del">
        <pc:chgData name="Petri Puustinen" userId="afdc5376-b007-4d8e-9c19-07b3fbb81413" providerId="ADAL" clId="{D1983050-7001-47A3-863C-735EF5F7CA8C}" dt="2021-09-28T13:02:34.483" v="49" actId="47"/>
        <pc:sldMkLst>
          <pc:docMk/>
          <pc:sldMk cId="2470512900" sldId="2076138617"/>
        </pc:sldMkLst>
      </pc:sldChg>
      <pc:sldChg chg="del">
        <pc:chgData name="Petri Puustinen" userId="afdc5376-b007-4d8e-9c19-07b3fbb81413" providerId="ADAL" clId="{D1983050-7001-47A3-863C-735EF5F7CA8C}" dt="2021-09-28T13:02:34.483" v="49" actId="47"/>
        <pc:sldMkLst>
          <pc:docMk/>
          <pc:sldMk cId="1931754931" sldId="2076138620"/>
        </pc:sldMkLst>
      </pc:sldChg>
      <pc:sldChg chg="del">
        <pc:chgData name="Petri Puustinen" userId="afdc5376-b007-4d8e-9c19-07b3fbb81413" providerId="ADAL" clId="{D1983050-7001-47A3-863C-735EF5F7CA8C}" dt="2021-09-28T13:02:34.483" v="49" actId="47"/>
        <pc:sldMkLst>
          <pc:docMk/>
          <pc:sldMk cId="2402194406" sldId="2076138622"/>
        </pc:sldMkLst>
      </pc:sldChg>
      <pc:sldChg chg="del">
        <pc:chgData name="Petri Puustinen" userId="afdc5376-b007-4d8e-9c19-07b3fbb81413" providerId="ADAL" clId="{D1983050-7001-47A3-863C-735EF5F7CA8C}" dt="2021-09-28T13:02:34.483" v="49" actId="47"/>
        <pc:sldMkLst>
          <pc:docMk/>
          <pc:sldMk cId="812663480" sldId="2076138624"/>
        </pc:sldMkLst>
      </pc:sldChg>
      <pc:sldChg chg="del">
        <pc:chgData name="Petri Puustinen" userId="afdc5376-b007-4d8e-9c19-07b3fbb81413" providerId="ADAL" clId="{D1983050-7001-47A3-863C-735EF5F7CA8C}" dt="2021-09-28T13:02:34.483" v="49" actId="47"/>
        <pc:sldMkLst>
          <pc:docMk/>
          <pc:sldMk cId="1741268550" sldId="2076138626"/>
        </pc:sldMkLst>
      </pc:sldChg>
      <pc:sldChg chg="del">
        <pc:chgData name="Petri Puustinen" userId="afdc5376-b007-4d8e-9c19-07b3fbb81413" providerId="ADAL" clId="{D1983050-7001-47A3-863C-735EF5F7CA8C}" dt="2021-09-28T13:02:34.483" v="49" actId="47"/>
        <pc:sldMkLst>
          <pc:docMk/>
          <pc:sldMk cId="1012202007" sldId="2076138637"/>
        </pc:sldMkLst>
      </pc:sldChg>
      <pc:sldChg chg="del">
        <pc:chgData name="Petri Puustinen" userId="afdc5376-b007-4d8e-9c19-07b3fbb81413" providerId="ADAL" clId="{D1983050-7001-47A3-863C-735EF5F7CA8C}" dt="2021-09-28T13:02:34.483" v="49" actId="47"/>
        <pc:sldMkLst>
          <pc:docMk/>
          <pc:sldMk cId="1152724275" sldId="2076138639"/>
        </pc:sldMkLst>
      </pc:sldChg>
      <pc:sldChg chg="del">
        <pc:chgData name="Petri Puustinen" userId="afdc5376-b007-4d8e-9c19-07b3fbb81413" providerId="ADAL" clId="{D1983050-7001-47A3-863C-735EF5F7CA8C}" dt="2021-09-28T13:02:34.483" v="49" actId="47"/>
        <pc:sldMkLst>
          <pc:docMk/>
          <pc:sldMk cId="2248815271" sldId="2076138640"/>
        </pc:sldMkLst>
      </pc:sldChg>
      <pc:sldChg chg="del">
        <pc:chgData name="Petri Puustinen" userId="afdc5376-b007-4d8e-9c19-07b3fbb81413" providerId="ADAL" clId="{D1983050-7001-47A3-863C-735EF5F7CA8C}" dt="2021-09-28T13:02:34.483" v="49" actId="47"/>
        <pc:sldMkLst>
          <pc:docMk/>
          <pc:sldMk cId="508573843" sldId="2076138641"/>
        </pc:sldMkLst>
      </pc:sldChg>
      <pc:sldChg chg="del">
        <pc:chgData name="Petri Puustinen" userId="afdc5376-b007-4d8e-9c19-07b3fbb81413" providerId="ADAL" clId="{D1983050-7001-47A3-863C-735EF5F7CA8C}" dt="2021-09-28T13:02:34.483" v="49" actId="47"/>
        <pc:sldMkLst>
          <pc:docMk/>
          <pc:sldMk cId="3527681664" sldId="2076138654"/>
        </pc:sldMkLst>
      </pc:sldChg>
      <pc:sldChg chg="del">
        <pc:chgData name="Petri Puustinen" userId="afdc5376-b007-4d8e-9c19-07b3fbb81413" providerId="ADAL" clId="{D1983050-7001-47A3-863C-735EF5F7CA8C}" dt="2021-09-28T13:02:34.483" v="49" actId="47"/>
        <pc:sldMkLst>
          <pc:docMk/>
          <pc:sldMk cId="4238966119" sldId="2123258461"/>
        </pc:sldMkLst>
      </pc:sldChg>
      <pc:sldChg chg="del">
        <pc:chgData name="Petri Puustinen" userId="afdc5376-b007-4d8e-9c19-07b3fbb81413" providerId="ADAL" clId="{D1983050-7001-47A3-863C-735EF5F7CA8C}" dt="2021-09-28T13:02:34.483" v="49" actId="47"/>
        <pc:sldMkLst>
          <pc:docMk/>
          <pc:sldMk cId="3734962274" sldId="2123258463"/>
        </pc:sldMkLst>
      </pc:sldChg>
      <pc:sldChg chg="del">
        <pc:chgData name="Petri Puustinen" userId="afdc5376-b007-4d8e-9c19-07b3fbb81413" providerId="ADAL" clId="{D1983050-7001-47A3-863C-735EF5F7CA8C}" dt="2021-09-28T13:02:34.483" v="49" actId="47"/>
        <pc:sldMkLst>
          <pc:docMk/>
          <pc:sldMk cId="879332333" sldId="2123258472"/>
        </pc:sldMkLst>
      </pc:sldChg>
      <pc:sldChg chg="del">
        <pc:chgData name="Petri Puustinen" userId="afdc5376-b007-4d8e-9c19-07b3fbb81413" providerId="ADAL" clId="{D1983050-7001-47A3-863C-735EF5F7CA8C}" dt="2021-09-28T13:02:34.483" v="49" actId="47"/>
        <pc:sldMkLst>
          <pc:docMk/>
          <pc:sldMk cId="3411137069" sldId="2123258474"/>
        </pc:sldMkLst>
      </pc:sldChg>
      <pc:sldChg chg="del">
        <pc:chgData name="Petri Puustinen" userId="afdc5376-b007-4d8e-9c19-07b3fbb81413" providerId="ADAL" clId="{D1983050-7001-47A3-863C-735EF5F7CA8C}" dt="2021-09-28T13:02:34.483" v="49" actId="47"/>
        <pc:sldMkLst>
          <pc:docMk/>
          <pc:sldMk cId="1571983368" sldId="2123258475"/>
        </pc:sldMkLst>
      </pc:sldChg>
      <pc:sldChg chg="del">
        <pc:chgData name="Petri Puustinen" userId="afdc5376-b007-4d8e-9c19-07b3fbb81413" providerId="ADAL" clId="{D1983050-7001-47A3-863C-735EF5F7CA8C}" dt="2021-09-28T13:02:34.483" v="49" actId="47"/>
        <pc:sldMkLst>
          <pc:docMk/>
          <pc:sldMk cId="470819361" sldId="2123258503"/>
        </pc:sldMkLst>
      </pc:sldChg>
      <pc:sldChg chg="del">
        <pc:chgData name="Petri Puustinen" userId="afdc5376-b007-4d8e-9c19-07b3fbb81413" providerId="ADAL" clId="{D1983050-7001-47A3-863C-735EF5F7CA8C}" dt="2021-09-28T13:02:34.483" v="49" actId="47"/>
        <pc:sldMkLst>
          <pc:docMk/>
          <pc:sldMk cId="535090656" sldId="2123258504"/>
        </pc:sldMkLst>
      </pc:sldChg>
      <pc:sldChg chg="del">
        <pc:chgData name="Petri Puustinen" userId="afdc5376-b007-4d8e-9c19-07b3fbb81413" providerId="ADAL" clId="{D1983050-7001-47A3-863C-735EF5F7CA8C}" dt="2021-09-28T13:02:34.483" v="49" actId="47"/>
        <pc:sldMkLst>
          <pc:docMk/>
          <pc:sldMk cId="2042429664" sldId="2123258507"/>
        </pc:sldMkLst>
      </pc:sldChg>
      <pc:sldChg chg="del">
        <pc:chgData name="Petri Puustinen" userId="afdc5376-b007-4d8e-9c19-07b3fbb81413" providerId="ADAL" clId="{D1983050-7001-47A3-863C-735EF5F7CA8C}" dt="2021-09-28T13:02:34.483" v="49" actId="47"/>
        <pc:sldMkLst>
          <pc:docMk/>
          <pc:sldMk cId="1747970499" sldId="2123258508"/>
        </pc:sldMkLst>
      </pc:sldChg>
      <pc:sldChg chg="del">
        <pc:chgData name="Petri Puustinen" userId="afdc5376-b007-4d8e-9c19-07b3fbb81413" providerId="ADAL" clId="{D1983050-7001-47A3-863C-735EF5F7CA8C}" dt="2021-09-28T13:02:34.483" v="49" actId="47"/>
        <pc:sldMkLst>
          <pc:docMk/>
          <pc:sldMk cId="2444782875" sldId="2123258509"/>
        </pc:sldMkLst>
      </pc:sldChg>
      <pc:sldChg chg="del">
        <pc:chgData name="Petri Puustinen" userId="afdc5376-b007-4d8e-9c19-07b3fbb81413" providerId="ADAL" clId="{D1983050-7001-47A3-863C-735EF5F7CA8C}" dt="2021-09-28T13:02:34.483" v="49" actId="47"/>
        <pc:sldMkLst>
          <pc:docMk/>
          <pc:sldMk cId="3339643751" sldId="2123258510"/>
        </pc:sldMkLst>
      </pc:sldChg>
      <pc:sldChg chg="del">
        <pc:chgData name="Petri Puustinen" userId="afdc5376-b007-4d8e-9c19-07b3fbb81413" providerId="ADAL" clId="{D1983050-7001-47A3-863C-735EF5F7CA8C}" dt="2021-09-28T13:02:34.483" v="49" actId="47"/>
        <pc:sldMkLst>
          <pc:docMk/>
          <pc:sldMk cId="2798882534" sldId="2123258511"/>
        </pc:sldMkLst>
      </pc:sldChg>
      <pc:sldChg chg="del">
        <pc:chgData name="Petri Puustinen" userId="afdc5376-b007-4d8e-9c19-07b3fbb81413" providerId="ADAL" clId="{D1983050-7001-47A3-863C-735EF5F7CA8C}" dt="2021-09-28T13:02:34.483" v="49" actId="47"/>
        <pc:sldMkLst>
          <pc:docMk/>
          <pc:sldMk cId="3691721392" sldId="2123258512"/>
        </pc:sldMkLst>
      </pc:sldChg>
      <pc:sldChg chg="del">
        <pc:chgData name="Petri Puustinen" userId="afdc5376-b007-4d8e-9c19-07b3fbb81413" providerId="ADAL" clId="{D1983050-7001-47A3-863C-735EF5F7CA8C}" dt="2021-09-28T13:02:34.483" v="49" actId="47"/>
        <pc:sldMkLst>
          <pc:docMk/>
          <pc:sldMk cId="1957428669" sldId="2123258513"/>
        </pc:sldMkLst>
      </pc:sldChg>
      <pc:sldChg chg="del">
        <pc:chgData name="Petri Puustinen" userId="afdc5376-b007-4d8e-9c19-07b3fbb81413" providerId="ADAL" clId="{D1983050-7001-47A3-863C-735EF5F7CA8C}" dt="2021-09-28T13:02:34.483" v="49" actId="47"/>
        <pc:sldMkLst>
          <pc:docMk/>
          <pc:sldMk cId="3097191190" sldId="2123258514"/>
        </pc:sldMkLst>
      </pc:sldChg>
      <pc:sldChg chg="del">
        <pc:chgData name="Petri Puustinen" userId="afdc5376-b007-4d8e-9c19-07b3fbb81413" providerId="ADAL" clId="{D1983050-7001-47A3-863C-735EF5F7CA8C}" dt="2021-09-28T13:02:34.483" v="49" actId="47"/>
        <pc:sldMkLst>
          <pc:docMk/>
          <pc:sldMk cId="1811841725" sldId="2123258515"/>
        </pc:sldMkLst>
      </pc:sldChg>
      <pc:sldChg chg="del">
        <pc:chgData name="Petri Puustinen" userId="afdc5376-b007-4d8e-9c19-07b3fbb81413" providerId="ADAL" clId="{D1983050-7001-47A3-863C-735EF5F7CA8C}" dt="2021-09-28T13:02:34.483" v="49" actId="47"/>
        <pc:sldMkLst>
          <pc:docMk/>
          <pc:sldMk cId="830925676" sldId="2123258516"/>
        </pc:sldMkLst>
      </pc:sldChg>
      <pc:sldChg chg="del">
        <pc:chgData name="Petri Puustinen" userId="afdc5376-b007-4d8e-9c19-07b3fbb81413" providerId="ADAL" clId="{D1983050-7001-47A3-863C-735EF5F7CA8C}" dt="2021-09-28T13:02:34.483" v="49" actId="47"/>
        <pc:sldMkLst>
          <pc:docMk/>
          <pc:sldMk cId="1423311880" sldId="2123258517"/>
        </pc:sldMkLst>
      </pc:sldChg>
      <pc:sldChg chg="del">
        <pc:chgData name="Petri Puustinen" userId="afdc5376-b007-4d8e-9c19-07b3fbb81413" providerId="ADAL" clId="{D1983050-7001-47A3-863C-735EF5F7CA8C}" dt="2021-09-28T13:02:34.483" v="49" actId="47"/>
        <pc:sldMkLst>
          <pc:docMk/>
          <pc:sldMk cId="28629464" sldId="2123258518"/>
        </pc:sldMkLst>
      </pc:sldChg>
      <pc:sldChg chg="del">
        <pc:chgData name="Petri Puustinen" userId="afdc5376-b007-4d8e-9c19-07b3fbb81413" providerId="ADAL" clId="{D1983050-7001-47A3-863C-735EF5F7CA8C}" dt="2021-09-28T13:02:34.483" v="49" actId="47"/>
        <pc:sldMkLst>
          <pc:docMk/>
          <pc:sldMk cId="1940201240" sldId="2123258519"/>
        </pc:sldMkLst>
      </pc:sldChg>
      <pc:sldChg chg="del">
        <pc:chgData name="Petri Puustinen" userId="afdc5376-b007-4d8e-9c19-07b3fbb81413" providerId="ADAL" clId="{D1983050-7001-47A3-863C-735EF5F7CA8C}" dt="2021-09-28T13:02:34.483" v="49" actId="47"/>
        <pc:sldMkLst>
          <pc:docMk/>
          <pc:sldMk cId="593873177" sldId="2123258520"/>
        </pc:sldMkLst>
      </pc:sldChg>
      <pc:sldChg chg="del">
        <pc:chgData name="Petri Puustinen" userId="afdc5376-b007-4d8e-9c19-07b3fbb81413" providerId="ADAL" clId="{D1983050-7001-47A3-863C-735EF5F7CA8C}" dt="2021-09-28T13:02:34.483" v="49" actId="47"/>
        <pc:sldMkLst>
          <pc:docMk/>
          <pc:sldMk cId="4175329520" sldId="2123258521"/>
        </pc:sldMkLst>
      </pc:sldChg>
      <pc:sldChg chg="del">
        <pc:chgData name="Petri Puustinen" userId="afdc5376-b007-4d8e-9c19-07b3fbb81413" providerId="ADAL" clId="{D1983050-7001-47A3-863C-735EF5F7CA8C}" dt="2021-09-28T13:02:34.483" v="49" actId="47"/>
        <pc:sldMkLst>
          <pc:docMk/>
          <pc:sldMk cId="2724041244" sldId="2123258522"/>
        </pc:sldMkLst>
      </pc:sldChg>
      <pc:sldChg chg="del">
        <pc:chgData name="Petri Puustinen" userId="afdc5376-b007-4d8e-9c19-07b3fbb81413" providerId="ADAL" clId="{D1983050-7001-47A3-863C-735EF5F7CA8C}" dt="2021-09-28T13:02:34.483" v="49" actId="47"/>
        <pc:sldMkLst>
          <pc:docMk/>
          <pc:sldMk cId="863799899" sldId="2123258523"/>
        </pc:sldMkLst>
      </pc:sldChg>
      <pc:sldChg chg="del">
        <pc:chgData name="Petri Puustinen" userId="afdc5376-b007-4d8e-9c19-07b3fbb81413" providerId="ADAL" clId="{D1983050-7001-47A3-863C-735EF5F7CA8C}" dt="2021-09-28T13:02:34.483" v="49" actId="47"/>
        <pc:sldMkLst>
          <pc:docMk/>
          <pc:sldMk cId="3337231370" sldId="2123258524"/>
        </pc:sldMkLst>
      </pc:sldChg>
      <pc:sldChg chg="del">
        <pc:chgData name="Petri Puustinen" userId="afdc5376-b007-4d8e-9c19-07b3fbb81413" providerId="ADAL" clId="{D1983050-7001-47A3-863C-735EF5F7CA8C}" dt="2021-09-28T13:02:34.483" v="49" actId="47"/>
        <pc:sldMkLst>
          <pc:docMk/>
          <pc:sldMk cId="1322682895" sldId="2123258525"/>
        </pc:sldMkLst>
      </pc:sldChg>
      <pc:sldChg chg="del">
        <pc:chgData name="Petri Puustinen" userId="afdc5376-b007-4d8e-9c19-07b3fbb81413" providerId="ADAL" clId="{D1983050-7001-47A3-863C-735EF5F7CA8C}" dt="2021-09-28T13:02:34.483" v="49" actId="47"/>
        <pc:sldMkLst>
          <pc:docMk/>
          <pc:sldMk cId="775731749" sldId="2123258526"/>
        </pc:sldMkLst>
      </pc:sldChg>
      <pc:sldChg chg="del">
        <pc:chgData name="Petri Puustinen" userId="afdc5376-b007-4d8e-9c19-07b3fbb81413" providerId="ADAL" clId="{D1983050-7001-47A3-863C-735EF5F7CA8C}" dt="2021-09-28T13:02:34.483" v="49" actId="47"/>
        <pc:sldMkLst>
          <pc:docMk/>
          <pc:sldMk cId="2430152420" sldId="2123258527"/>
        </pc:sldMkLst>
      </pc:sldChg>
      <pc:sldChg chg="del">
        <pc:chgData name="Petri Puustinen" userId="afdc5376-b007-4d8e-9c19-07b3fbb81413" providerId="ADAL" clId="{D1983050-7001-47A3-863C-735EF5F7CA8C}" dt="2021-09-28T13:02:34.483" v="49" actId="47"/>
        <pc:sldMkLst>
          <pc:docMk/>
          <pc:sldMk cId="1626968696" sldId="2123258528"/>
        </pc:sldMkLst>
      </pc:sldChg>
      <pc:sldMasterChg chg="delSldLayout">
        <pc:chgData name="Petri Puustinen" userId="afdc5376-b007-4d8e-9c19-07b3fbb81413" providerId="ADAL" clId="{D1983050-7001-47A3-863C-735EF5F7CA8C}" dt="2021-09-28T13:02:34.483" v="49" actId="47"/>
        <pc:sldMasterMkLst>
          <pc:docMk/>
          <pc:sldMasterMk cId="3614164461" sldId="2147483660"/>
        </pc:sldMasterMkLst>
        <pc:sldLayoutChg chg="del">
          <pc:chgData name="Petri Puustinen" userId="afdc5376-b007-4d8e-9c19-07b3fbb81413" providerId="ADAL" clId="{D1983050-7001-47A3-863C-735EF5F7CA8C}" dt="2021-09-28T13:02:34.483" v="49" actId="47"/>
          <pc:sldLayoutMkLst>
            <pc:docMk/>
            <pc:sldMasterMk cId="3614164461" sldId="2147483660"/>
            <pc:sldLayoutMk cId="1412064494" sldId="2147483791"/>
          </pc:sldLayoutMkLst>
        </pc:sldLayoutChg>
        <pc:sldLayoutChg chg="del">
          <pc:chgData name="Petri Puustinen" userId="afdc5376-b007-4d8e-9c19-07b3fbb81413" providerId="ADAL" clId="{D1983050-7001-47A3-863C-735EF5F7CA8C}" dt="2021-09-28T13:02:34.483" v="49" actId="47"/>
          <pc:sldLayoutMkLst>
            <pc:docMk/>
            <pc:sldMasterMk cId="3614164461" sldId="2147483660"/>
            <pc:sldLayoutMk cId="1839545817" sldId="2147483885"/>
          </pc:sldLayoutMkLst>
        </pc:sldLayoutChg>
        <pc:sldLayoutChg chg="del">
          <pc:chgData name="Petri Puustinen" userId="afdc5376-b007-4d8e-9c19-07b3fbb81413" providerId="ADAL" clId="{D1983050-7001-47A3-863C-735EF5F7CA8C}" dt="2021-09-28T13:02:34.483" v="49" actId="47"/>
          <pc:sldLayoutMkLst>
            <pc:docMk/>
            <pc:sldMasterMk cId="3614164461" sldId="2147483660"/>
            <pc:sldLayoutMk cId="4202506260" sldId="2147483886"/>
          </pc:sldLayoutMkLst>
        </pc:sldLayoutChg>
        <pc:sldLayoutChg chg="del">
          <pc:chgData name="Petri Puustinen" userId="afdc5376-b007-4d8e-9c19-07b3fbb81413" providerId="ADAL" clId="{D1983050-7001-47A3-863C-735EF5F7CA8C}" dt="2021-09-28T13:02:34.483" v="49" actId="47"/>
          <pc:sldLayoutMkLst>
            <pc:docMk/>
            <pc:sldMasterMk cId="3614164461" sldId="2147483660"/>
            <pc:sldLayoutMk cId="3538944059" sldId="2147484018"/>
          </pc:sldLayoutMkLst>
        </pc:sldLayoutChg>
        <pc:sldLayoutChg chg="del">
          <pc:chgData name="Petri Puustinen" userId="afdc5376-b007-4d8e-9c19-07b3fbb81413" providerId="ADAL" clId="{D1983050-7001-47A3-863C-735EF5F7CA8C}" dt="2021-09-28T13:02:34.483" v="49" actId="47"/>
          <pc:sldLayoutMkLst>
            <pc:docMk/>
            <pc:sldMasterMk cId="3614164461" sldId="2147483660"/>
            <pc:sldLayoutMk cId="3482705875" sldId="2147484019"/>
          </pc:sldLayoutMkLst>
        </pc:sldLayoutChg>
      </pc:sldMasterChg>
      <pc:sldMasterChg chg="delSldLayout">
        <pc:chgData name="Petri Puustinen" userId="afdc5376-b007-4d8e-9c19-07b3fbb81413" providerId="ADAL" clId="{D1983050-7001-47A3-863C-735EF5F7CA8C}" dt="2021-09-28T13:02:34.483" v="49" actId="47"/>
        <pc:sldMasterMkLst>
          <pc:docMk/>
          <pc:sldMasterMk cId="3338664631" sldId="2147483713"/>
        </pc:sldMasterMkLst>
        <pc:sldLayoutChg chg="del">
          <pc:chgData name="Petri Puustinen" userId="afdc5376-b007-4d8e-9c19-07b3fbb81413" providerId="ADAL" clId="{D1983050-7001-47A3-863C-735EF5F7CA8C}" dt="2021-09-28T13:02:34.483" v="49" actId="47"/>
          <pc:sldLayoutMkLst>
            <pc:docMk/>
            <pc:sldMasterMk cId="3338664631" sldId="2147483713"/>
            <pc:sldLayoutMk cId="4162866518" sldId="2147483879"/>
          </pc:sldLayoutMkLst>
        </pc:sldLayoutChg>
        <pc:sldLayoutChg chg="del">
          <pc:chgData name="Petri Puustinen" userId="afdc5376-b007-4d8e-9c19-07b3fbb81413" providerId="ADAL" clId="{D1983050-7001-47A3-863C-735EF5F7CA8C}" dt="2021-09-28T13:02:34.483" v="49" actId="47"/>
          <pc:sldLayoutMkLst>
            <pc:docMk/>
            <pc:sldMasterMk cId="3338664631" sldId="2147483713"/>
            <pc:sldLayoutMk cId="962079438" sldId="2147483884"/>
          </pc:sldLayoutMkLst>
        </pc:sldLayoutChg>
        <pc:sldLayoutChg chg="del">
          <pc:chgData name="Petri Puustinen" userId="afdc5376-b007-4d8e-9c19-07b3fbb81413" providerId="ADAL" clId="{D1983050-7001-47A3-863C-735EF5F7CA8C}" dt="2021-09-28T13:02:34.483" v="49" actId="47"/>
          <pc:sldLayoutMkLst>
            <pc:docMk/>
            <pc:sldMasterMk cId="3338664631" sldId="2147483713"/>
            <pc:sldLayoutMk cId="1568412142" sldId="2147483888"/>
          </pc:sldLayoutMkLst>
        </pc:sldLayoutChg>
      </pc:sldMasterChg>
      <pc:sldMasterChg chg="delSldLayout">
        <pc:chgData name="Petri Puustinen" userId="afdc5376-b007-4d8e-9c19-07b3fbb81413" providerId="ADAL" clId="{D1983050-7001-47A3-863C-735EF5F7CA8C}" dt="2021-09-28T13:02:34.483" v="49" actId="47"/>
        <pc:sldMasterMkLst>
          <pc:docMk/>
          <pc:sldMasterMk cId="2650919431" sldId="2147483889"/>
        </pc:sldMasterMkLst>
        <pc:sldLayoutChg chg="del">
          <pc:chgData name="Petri Puustinen" userId="afdc5376-b007-4d8e-9c19-07b3fbb81413" providerId="ADAL" clId="{D1983050-7001-47A3-863C-735EF5F7CA8C}" dt="2021-09-28T13:02:34.483" v="49" actId="47"/>
          <pc:sldLayoutMkLst>
            <pc:docMk/>
            <pc:sldMasterMk cId="2650919431" sldId="2147483889"/>
            <pc:sldLayoutMk cId="71498987" sldId="2147483905"/>
          </pc:sldLayoutMkLst>
        </pc:sldLayoutChg>
      </pc:sldMasterChg>
      <pc:sldMasterChg chg="delSldLayout">
        <pc:chgData name="Petri Puustinen" userId="afdc5376-b007-4d8e-9c19-07b3fbb81413" providerId="ADAL" clId="{D1983050-7001-47A3-863C-735EF5F7CA8C}" dt="2021-09-28T13:02:34.483" v="49" actId="47"/>
        <pc:sldMasterMkLst>
          <pc:docMk/>
          <pc:sldMasterMk cId="1799795859" sldId="2147483909"/>
        </pc:sldMasterMkLst>
        <pc:sldLayoutChg chg="del">
          <pc:chgData name="Petri Puustinen" userId="afdc5376-b007-4d8e-9c19-07b3fbb81413" providerId="ADAL" clId="{D1983050-7001-47A3-863C-735EF5F7CA8C}" dt="2021-09-28T13:02:34.483" v="49" actId="47"/>
          <pc:sldLayoutMkLst>
            <pc:docMk/>
            <pc:sldMasterMk cId="1799795859" sldId="2147483909"/>
            <pc:sldLayoutMk cId="4279524564" sldId="2147483988"/>
          </pc:sldLayoutMkLst>
        </pc:sldLayoutChg>
      </pc:sldMasterChg>
      <pc:sldMasterChg chg="delSldLayout">
        <pc:chgData name="Petri Puustinen" userId="afdc5376-b007-4d8e-9c19-07b3fbb81413" providerId="ADAL" clId="{D1983050-7001-47A3-863C-735EF5F7CA8C}" dt="2021-09-28T13:02:34.483" v="49" actId="47"/>
        <pc:sldMasterMkLst>
          <pc:docMk/>
          <pc:sldMasterMk cId="2469825234" sldId="2147483995"/>
        </pc:sldMasterMkLst>
        <pc:sldLayoutChg chg="del">
          <pc:chgData name="Petri Puustinen" userId="afdc5376-b007-4d8e-9c19-07b3fbb81413" providerId="ADAL" clId="{D1983050-7001-47A3-863C-735EF5F7CA8C}" dt="2021-09-28T13:02:34.483" v="49" actId="47"/>
          <pc:sldLayoutMkLst>
            <pc:docMk/>
            <pc:sldMasterMk cId="2469825234" sldId="2147483995"/>
            <pc:sldLayoutMk cId="3656754904" sldId="2147484003"/>
          </pc:sldLayoutMkLst>
        </pc:sldLayoutChg>
        <pc:sldLayoutChg chg="del">
          <pc:chgData name="Petri Puustinen" userId="afdc5376-b007-4d8e-9c19-07b3fbb81413" providerId="ADAL" clId="{D1983050-7001-47A3-863C-735EF5F7CA8C}" dt="2021-09-28T13:02:34.483" v="49" actId="47"/>
          <pc:sldLayoutMkLst>
            <pc:docMk/>
            <pc:sldMasterMk cId="2469825234" sldId="2147483995"/>
            <pc:sldLayoutMk cId="2526077981" sldId="2147484008"/>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8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CF6222D-E2AF-4C49-A639-ABE92630659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FF8C996-8DCD-4578-A35F-42306331C60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C3B4DBB-89D8-4481-8040-A8845784EEDA}" type="datetimeFigureOut">
              <a:rPr lang="en-US" smtClean="0"/>
              <a:t>10/30/2021</a:t>
            </a:fld>
            <a:endParaRPr lang="en-US"/>
          </a:p>
        </p:txBody>
      </p:sp>
      <p:sp>
        <p:nvSpPr>
          <p:cNvPr id="4" name="Footer Placeholder 3">
            <a:extLst>
              <a:ext uri="{FF2B5EF4-FFF2-40B4-BE49-F238E27FC236}">
                <a16:creationId xmlns:a16="http://schemas.microsoft.com/office/drawing/2014/main" id="{587E2FB6-1F28-4751-8D77-9B3668F7E1E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C9666C8-8E3B-46D4-BA7C-898433F313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212CD41-B4EE-4C4F-9559-C6429C377E57}" type="slidenum">
              <a:rPr lang="en-US" smtClean="0"/>
              <a:t>‹#›</a:t>
            </a:fld>
            <a:endParaRPr lang="en-US"/>
          </a:p>
        </p:txBody>
      </p:sp>
    </p:spTree>
    <p:extLst>
      <p:ext uri="{BB962C8B-B14F-4D97-AF65-F5344CB8AC3E}">
        <p14:creationId xmlns:p14="http://schemas.microsoft.com/office/powerpoint/2010/main" val="13113276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3C7197-4AFD-4C95-B294-D1361E8904CF}" type="datetimeFigureOut">
              <a:rPr lang="en-US" smtClean="0"/>
              <a:t>10/2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43513B-B2D0-4CD6-A04A-7225AC80CB34}" type="slidenum">
              <a:rPr lang="en-US" smtClean="0"/>
              <a:t>‹#›</a:t>
            </a:fld>
            <a:endParaRPr lang="en-US"/>
          </a:p>
        </p:txBody>
      </p:sp>
    </p:spTree>
    <p:extLst>
      <p:ext uri="{BB962C8B-B14F-4D97-AF65-F5344CB8AC3E}">
        <p14:creationId xmlns:p14="http://schemas.microsoft.com/office/powerpoint/2010/main" val="9549554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76319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dirty="0"/>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10/30/2021</a:t>
            </a:fld>
            <a:endParaRPr lang="en-US" dirty="0"/>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161302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pPr>
            <a:r>
              <a:rPr lang="en-US"/>
              <a:t>To help empower your people and elevate their talents, Microsoft combined the capabilities of four services into a unique and powerful low-code development platform. While the Power Platform has capabilities which will impress any seasoned developer, it is designed to be </a:t>
            </a:r>
            <a:r>
              <a:rPr lang="en-US" sz="1200" b="0" i="0" u="none" strike="noStrike" kern="1200">
                <a:solidFill>
                  <a:schemeClr val="tx1"/>
                </a:solidFill>
                <a:effectLst/>
                <a:latin typeface="Segoe UI Light" pitchFamily="34" charset="0"/>
                <a:ea typeface="+mn-ea"/>
                <a:cs typeface="+mn-cs"/>
              </a:rPr>
              <a:t>approachable and accessible to those in the best position to identify transformative applications – those who work on the front lines of a business.</a:t>
            </a:r>
          </a:p>
          <a:p>
            <a:pPr>
              <a:lnSpc>
                <a:spcPct val="100000"/>
              </a:lnSpc>
            </a:pPr>
            <a:endParaRPr lang="en-US" sz="1200" b="0" i="0" u="none" strike="noStrike" kern="1200">
              <a:solidFill>
                <a:schemeClr val="tx1"/>
              </a:solidFill>
              <a:effectLst/>
              <a:latin typeface="Segoe UI Light" pitchFamily="34" charset="0"/>
              <a:ea typeface="+mn-ea"/>
              <a:cs typeface="+mn-cs"/>
            </a:endParaRPr>
          </a:p>
          <a:p>
            <a:pPr>
              <a:lnSpc>
                <a:spcPct val="100000"/>
              </a:lnSpc>
            </a:pPr>
            <a:r>
              <a:rPr lang="en-US" sz="1200" b="0" i="0" u="none" strike="noStrike" kern="1200">
                <a:solidFill>
                  <a:schemeClr val="tx1"/>
                </a:solidFill>
                <a:effectLst/>
                <a:latin typeface="Segoe UI Light" pitchFamily="34" charset="0"/>
                <a:ea typeface="+mn-ea"/>
                <a:cs typeface="+mn-cs"/>
              </a:rPr>
              <a:t>Digital transformation means more efficient use of your data to gain insight which facilitates more intelligent business processes and decision-making. However, organizations cannot achieve this efficiency with only programmers, data scientists, and tech professionals because there simply are not enough of them. One of the foundational goals of the Power Platform is to empower the limitless potential of citizen developers who can use its capabilities to unlock insights and develop processes that would otherwise never surface.</a:t>
            </a:r>
          </a:p>
          <a:p>
            <a:pPr>
              <a:lnSpc>
                <a:spcPct val="100000"/>
              </a:lnSpc>
            </a:pPr>
            <a:endParaRPr lang="en-US"/>
          </a:p>
          <a:p>
            <a:pPr marL="0" marR="0" lvl="0" indent="0" algn="l" defTabSz="932742" rtl="0" eaLnBrk="1" fontAlgn="auto" latinLnBrk="0" hangingPunct="1">
              <a:lnSpc>
                <a:spcPct val="100000"/>
              </a:lnSpc>
              <a:spcBef>
                <a:spcPts val="0"/>
              </a:spcBef>
              <a:spcAft>
                <a:spcPts val="340"/>
              </a:spcAft>
              <a:buClrTx/>
              <a:buSzTx/>
              <a:buFontTx/>
              <a:buNone/>
              <a:tabLst/>
              <a:defRPr/>
            </a:pPr>
            <a:r>
              <a:rPr lang="en-US"/>
              <a:t>The Power Platform is </a:t>
            </a:r>
            <a:r>
              <a:rPr kumimoji="0" lang="en-US" sz="1200" b="0" i="0" u="none" strike="noStrike" kern="1200" cap="none" spc="0" normalizeH="0" baseline="0" noProof="0">
                <a:ln>
                  <a:noFill/>
                </a:ln>
                <a:solidFill>
                  <a:srgbClr val="505050"/>
                </a:solidFill>
                <a:effectLst/>
                <a:uLnTx/>
                <a:uFillTx/>
                <a:latin typeface="Segoe UI"/>
                <a:ea typeface="+mn-ea"/>
                <a:cs typeface="Segoe UI Semilight" panose="020B0402040204020203" pitchFamily="34" charset="0"/>
              </a:rPr>
              <a:t>a singular </a:t>
            </a:r>
            <a:r>
              <a:rPr kumimoji="0" lang="en-US" sz="1200" b="0" i="0" u="none" strike="noStrike" kern="1200" cap="none" spc="0" normalizeH="0" baseline="0" noProof="0">
                <a:ln>
                  <a:noFill/>
                </a:ln>
                <a:solidFill>
                  <a:srgbClr val="505050"/>
                </a:solidFill>
                <a:effectLst/>
                <a:uLnTx/>
                <a:uFillTx/>
                <a:latin typeface="Segoe UI Semibold"/>
                <a:ea typeface="+mn-ea"/>
                <a:cs typeface="Segoe UI Semilight" panose="020B0402040204020203" pitchFamily="34" charset="0"/>
              </a:rPr>
              <a:t>low-code</a:t>
            </a:r>
            <a:r>
              <a:rPr kumimoji="0" lang="en-US" sz="1200" b="0" i="0" u="none" strike="noStrike" kern="1200" cap="none" spc="0" normalizeH="0" baseline="0" noProof="0">
                <a:ln>
                  <a:noFill/>
                </a:ln>
                <a:solidFill>
                  <a:srgbClr val="505050"/>
                </a:solidFill>
                <a:effectLst/>
                <a:uLnTx/>
                <a:uFillTx/>
                <a:latin typeface="Segoe UI"/>
                <a:ea typeface="+mn-ea"/>
                <a:cs typeface="Segoe UI Semilight" panose="020B0402040204020203" pitchFamily="34" charset="0"/>
              </a:rPr>
              <a:t> platform that spans Office 365, Dynamics 365, Azure and standalone applications.</a:t>
            </a: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9/2021 11:33 A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51260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Power Platform is designed for ease of use for business or departmental users, the world’s growing citizen developer community, yet also offers the functionality required for experienced developers. Power Platform is also built to support the needs of modern IT teams and Admins, from automating mundane IT functions, to providing security, compliance, and control over the usage and execution of Power Platform services across the IT ecosystem.</a:t>
            </a:r>
          </a:p>
          <a:p>
            <a:endParaRPr kumimoji="0" lang="en-US" sz="800" b="0" i="0" u="none" strike="noStrike" kern="1200" cap="none" spc="0" normalizeH="0" baseline="0" noProof="0">
              <a:ln>
                <a:noFill/>
              </a:ln>
              <a:solidFill>
                <a:srgbClr val="FFFFFF"/>
              </a:solidFill>
              <a:effectLst/>
              <a:uLnTx/>
              <a:uFillTx/>
              <a:latin typeface="Segoe UI"/>
              <a:ea typeface="+mn-ea"/>
              <a:cs typeface="+mn-cs"/>
            </a:endParaRPr>
          </a:p>
          <a:p>
            <a:r>
              <a:rPr kumimoji="0" lang="en-US" sz="800" b="0" i="0" u="none" strike="noStrike" kern="1200" cap="none" spc="0" normalizeH="0" baseline="0" noProof="0">
                <a:ln>
                  <a:noFill/>
                </a:ln>
                <a:solidFill>
                  <a:srgbClr val="FFFFFF"/>
                </a:solidFill>
                <a:effectLst/>
                <a:uLnTx/>
                <a:uFillTx/>
                <a:latin typeface="Segoe UI"/>
                <a:ea typeface="+mn-ea"/>
                <a:cs typeface="+mn-cs"/>
              </a:rPr>
              <a:t>Our focus for the next several minutes will be how the Power Platform is designed to work with IT in this new world of end users and experienced developers. Let’s first map out the changes that IT will face.</a:t>
            </a:r>
          </a:p>
          <a:p>
            <a:pPr marL="116574" marR="0" lvl="0" indent="0" algn="l" defTabSz="932418" rtl="0" eaLnBrk="1" fontAlgn="auto" latinLnBrk="0" hangingPunct="1">
              <a:lnSpc>
                <a:spcPct val="100000"/>
              </a:lnSpc>
              <a:spcBef>
                <a:spcPts val="0"/>
              </a:spcBef>
              <a:spcAft>
                <a:spcPts val="306"/>
              </a:spcAft>
              <a:buClrTx/>
              <a:buSzTx/>
              <a:buFont typeface="Arial" panose="020B0604020202020204" pitchFamily="34" charset="0"/>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a:p>
            <a:endParaRPr lang="en-IN"/>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94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modern businesses to compete and progress with their digital transformation journey, more end users will become developers. In fact, Gartner predicts that by 2023, there will be four times as many end user or citizen developers compared to experienced developers in enterprises. </a:t>
            </a:r>
          </a:p>
          <a:p>
            <a:endParaRPr lang="en-US"/>
          </a:p>
          <a:p>
            <a:r>
              <a:rPr lang="en-US"/>
              <a:t>Gartner conducted a recent survey finding that 41% of respondents have active citizen development and an additional 20% are currently evaluating or initiating citizen development within the enterprise.</a:t>
            </a:r>
          </a:p>
          <a:p>
            <a:endParaRPr lang="en-US"/>
          </a:p>
          <a:p>
            <a:r>
              <a:rPr lang="en-US"/>
              <a:t>This new group of developers are needed handle an increase in software, application, and database development required for the modern enterprise to support growing business demands.</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58901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As the number of developers grows, the realities of the organization change.  For example, what once might be considered shadow IT or rogue IT and discouraged, might now be considered citizen IT where a end user creates his/her own application to expedite a process or task.  Security really becomes securing the user identity rather than securing the network perimeter.  As more users gain access to data, DLP becomes more important.  Also, greater customizations are required for organizations’ unique IT environment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2074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the number of developers grow, governance becomes more of a key criteria to ensure that digital transformation provides the desired positive effect.  With more developers, there are more potential gaps and areas where an organization may fall out of compliance or experience security issues and we list some of these concerns here.  Having strong governance is a fundamental requirement for an organization to experience the full benefits of digital transformation.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62511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s with many IT initiatives, governance is not a single step.  It requires focus on multiple aspects including security, monitoring, management, and application lifecycle management for your particular organization.  In our Power Platform Governance series, we’ll show you how the Power Platform offers you capabilities in each of these different and important elements for your Power Platform deployment.  The tools within the Power Platform help reduce the complexity of governing your environment, and empowers admins to unlock the greatest benefits from their Power Platform assets.</a:t>
            </a:r>
          </a:p>
          <a:p>
            <a:endParaRPr lang="en-US"/>
          </a:p>
        </p:txBody>
      </p:sp>
      <p:sp>
        <p:nvSpPr>
          <p:cNvPr id="4" name="Slide Number Placeholder 3"/>
          <p:cNvSpPr>
            <a:spLocks noGrp="1"/>
          </p:cNvSpPr>
          <p:nvPr>
            <p:ph type="sldNum" sz="quarter" idx="5"/>
          </p:nvPr>
        </p:nvSpPr>
        <p:spPr/>
        <p:txBody>
          <a:bodyPr/>
          <a:lstStyle/>
          <a:p>
            <a:fld id="{B49FD010-78A2-466D-88C2-9A39E235D9B7}" type="slidenum">
              <a:rPr lang="en-US" smtClean="0"/>
              <a:t>8</a:t>
            </a:fld>
            <a:endParaRPr lang="en-US"/>
          </a:p>
        </p:txBody>
      </p:sp>
    </p:spTree>
    <p:extLst>
      <p:ext uri="{BB962C8B-B14F-4D97-AF65-F5344CB8AC3E}">
        <p14:creationId xmlns:p14="http://schemas.microsoft.com/office/powerpoint/2010/main" val="11156418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39.png"/><Relationship Id="rId7" Type="http://schemas.openxmlformats.org/officeDocument/2006/relationships/image" Target="../media/image42.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1.jpeg"/><Relationship Id="rId5" Type="http://schemas.microsoft.com/office/2007/relationships/hdphoto" Target="../media/hdphoto1.wdp"/><Relationship Id="rId4" Type="http://schemas.openxmlformats.org/officeDocument/2006/relationships/image" Target="../media/image40.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3.xml"/><Relationship Id="rId4" Type="http://schemas.openxmlformats.org/officeDocument/2006/relationships/image" Target="../media/image46.jpe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3.xml"/><Relationship Id="rId4" Type="http://schemas.openxmlformats.org/officeDocument/2006/relationships/image" Target="../media/image52.jpe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3.xml"/><Relationship Id="rId4" Type="http://schemas.openxmlformats.org/officeDocument/2006/relationships/image" Target="../media/image64.jpeg"/></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8.jpe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8.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8.jpe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70.jpeg"/><Relationship Id="rId1" Type="http://schemas.openxmlformats.org/officeDocument/2006/relationships/slideMaster" Target="../slideMasters/slideMaster7.xml"/><Relationship Id="rId4" Type="http://schemas.openxmlformats.org/officeDocument/2006/relationships/image" Target="../media/image71.sv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70.jpeg"/><Relationship Id="rId1" Type="http://schemas.openxmlformats.org/officeDocument/2006/relationships/slideMaster" Target="../slideMasters/slideMaster7.xml"/><Relationship Id="rId4" Type="http://schemas.openxmlformats.org/officeDocument/2006/relationships/image" Target="../media/image72.sv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73.pn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74.png"/><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76.pn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7.jpe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jpeg"/><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5.emf"/><Relationship Id="rId5" Type="http://schemas.openxmlformats.org/officeDocument/2006/relationships/oleObject" Target="../embeddings/oleObject1.bin"/><Relationship Id="rId4"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emf"/><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0.sv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2.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4" strike="noStrike" spc="-49" baseline="0">
                <a:solidFill>
                  <a:srgbClr val="742774"/>
                </a:solidFill>
              </a:defRPr>
            </a:lvl1pPr>
          </a:lstStyle>
          <a:p>
            <a:r>
              <a:rPr lang="en-US"/>
              <a:t>Power Apps presentation titl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1"/>
            </a:lvl3pPr>
            <a:lvl4pPr>
              <a:defRPr sz="1371"/>
            </a:lvl4pPr>
            <a:lvl5pPr>
              <a:defRPr sz="1028"/>
            </a:lvl5pPr>
          </a:lstStyle>
          <a:p>
            <a:pPr lvl="0"/>
            <a:r>
              <a:rPr lang="en-US"/>
              <a:t>Speaker name</a:t>
            </a:r>
          </a:p>
          <a:p>
            <a:pPr lvl="1"/>
            <a:r>
              <a:rPr lang="en-US"/>
              <a:t>Date</a:t>
            </a:r>
          </a:p>
        </p:txBody>
      </p:sp>
      <p:pic>
        <p:nvPicPr>
          <p:cNvPr id="1026" name="Picture 2">
            <a:extLst>
              <a:ext uri="{FF2B5EF4-FFF2-40B4-BE49-F238E27FC236}">
                <a16:creationId xmlns:a16="http://schemas.microsoft.com/office/drawing/2014/main" id="{DEB8F1F9-8F39-4A55-AD3C-EAB3E3DB2B4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0437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gn="ctr">
              <a:lnSpc>
                <a:spcPts val="3136"/>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229301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696456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795794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4087561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4"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spTree>
    <p:extLst>
      <p:ext uri="{BB962C8B-B14F-4D97-AF65-F5344CB8AC3E}">
        <p14:creationId xmlns:p14="http://schemas.microsoft.com/office/powerpoint/2010/main" val="3153277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49" y="257170"/>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193673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4"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9581074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6" y="0"/>
            <a:ext cx="8112955" cy="68580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spTree>
    <p:extLst>
      <p:ext uri="{BB962C8B-B14F-4D97-AF65-F5344CB8AC3E}">
        <p14:creationId xmlns:p14="http://schemas.microsoft.com/office/powerpoint/2010/main" val="11653756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lvl1pPr>
            <a:lvl2pPr>
              <a:defRPr sz="1765"/>
            </a:lvl2pPr>
            <a:lvl3pPr>
              <a:defRPr sz="1371"/>
            </a:lvl3pPr>
            <a:lvl4pPr>
              <a:defRPr sz="1371"/>
            </a:lvl4pPr>
            <a:lvl5pPr>
              <a:defRPr sz="1028"/>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09784" y="0"/>
            <a:ext cx="8900740" cy="5008231"/>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4427830" y="990191"/>
            <a:ext cx="8256175" cy="4877618"/>
            <a:chOff x="3256668" y="185626"/>
            <a:chExt cx="8421728"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blipFill dpi="0" rotWithShape="0">
              <a:blip r:embed="rId4" cstate="email">
                <a:extLst>
                  <a:ext uri="{BEBA8EAE-BF5A-486C-A8C5-ECC9F3942E4B}">
                    <a14:imgProps xmlns:a14="http://schemas.microsoft.com/office/drawing/2010/main">
                      <a14:imgLayer r:embed="rId5">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blipFill dpi="0" rotWithShape="0">
              <a:blip r:embed="rId6"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blipFill dpi="0" rotWithShape="0">
              <a:blip r:embed="rId7"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564886" y="2001705"/>
              <a:ext cx="2113510" cy="2114441"/>
            </a:xfrm>
            <a:prstGeom prst="roundRect">
              <a:avLst/>
            </a:prstGeom>
            <a:blipFill dpi="0" rotWithShape="0">
              <a:blip r:embed="rId8" cstate="email">
                <a:extLst>
                  <a:ext uri="{28A0092B-C50C-407E-A947-70E740481C1C}">
                    <a14:useLocalDpi xmlns:a14="http://schemas.microsoft.com/office/drawing/2010/main"/>
                  </a:ext>
                </a:extLst>
              </a:blip>
              <a:srcRect/>
              <a:stretch>
                <a:fillRect/>
              </a:stretch>
            </a:bli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577661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71515197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07" indent="0">
              <a:buNone/>
              <a:defRPr/>
            </a:lvl3pPr>
            <a:lvl4pPr marL="672161" indent="0">
              <a:buNone/>
              <a:defRPr/>
            </a:lvl4pPr>
            <a:lvl5pPr marL="89621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07" indent="0">
              <a:buNone/>
              <a:defRPr/>
            </a:lvl3pPr>
            <a:lvl4pPr marL="6721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6648565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57851278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rgbClr val="008C7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69855443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9F688C8-3B7E-4B4E-A0DF-C0F540D06E6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02436567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401818441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D1E264F7-E90B-4222-997C-DD161317F4D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5244332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756512F1-F8C6-4D41-9BB5-A624A76D41C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10101454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41694" y="441279"/>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14994003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Section title photo">
    <p:bg>
      <p:bgPr>
        <a:solidFill>
          <a:schemeClr val="bg2"/>
        </a:solidFill>
        <a:effectLst/>
      </p:bgPr>
    </p:bg>
    <p:spTree>
      <p:nvGrpSpPr>
        <p:cNvPr id="1" name=""/>
        <p:cNvGrpSpPr/>
        <p:nvPr/>
      </p:nvGrpSpPr>
      <p:grpSpPr>
        <a:xfrm>
          <a:off x="0" y="0"/>
          <a:ext cx="0" cy="0"/>
          <a:chOff x="0" y="0"/>
          <a:chExt cx="0" cy="0"/>
        </a:xfrm>
      </p:grpSpPr>
      <p:sp>
        <p:nvSpPr>
          <p:cNvPr id="95" name="Freeform: Shape 94">
            <a:extLst>
              <a:ext uri="{FF2B5EF4-FFF2-40B4-BE49-F238E27FC236}">
                <a16:creationId xmlns:a16="http://schemas.microsoft.com/office/drawing/2014/main" id="{9563E925-0DC1-4F78-80AC-6252EF8936E7}"/>
              </a:ext>
            </a:extLst>
          </p:cNvPr>
          <p:cNvSpPr/>
          <p:nvPr userDrawn="1"/>
        </p:nvSpPr>
        <p:spPr bwMode="auto">
          <a:xfrm>
            <a:off x="473835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1821901"/>
            <a:ext cx="4885203" cy="3260896"/>
          </a:xfrm>
          <a:noFill/>
        </p:spPr>
        <p:txBody>
          <a:bodyPr vert="horz" wrap="square" lIns="0" tIns="0" rIns="0" bIns="0" rtlCol="0" anchor="t" anchorCtr="0">
            <a:noAutofit/>
          </a:bodyPr>
          <a:lstStyle>
            <a:lvl1pPr>
              <a:defRPr lang="en-US" sz="3920" spc="-49" baseline="0" dirty="0">
                <a:solidFill>
                  <a:schemeClr val="tx1"/>
                </a:solidFill>
                <a:latin typeface="+mn-lt"/>
              </a:defRPr>
            </a:lvl1pPr>
          </a:lstStyle>
          <a:p>
            <a:pPr marL="0" lvl="0">
              <a:lnSpc>
                <a:spcPts val="5489"/>
              </a:lnSpc>
            </a:pPr>
            <a:r>
              <a:rPr lang="en-US"/>
              <a:t>Section title</a:t>
            </a:r>
          </a:p>
        </p:txBody>
      </p:sp>
      <p:sp>
        <p:nvSpPr>
          <p:cNvPr id="88" name="Picture Placeholder 87">
            <a:extLst>
              <a:ext uri="{FF2B5EF4-FFF2-40B4-BE49-F238E27FC236}">
                <a16:creationId xmlns:a16="http://schemas.microsoft.com/office/drawing/2014/main" id="{7F09A9E6-F000-49B5-AE56-C2FCA258A1D4}"/>
              </a:ext>
            </a:extLst>
          </p:cNvPr>
          <p:cNvSpPr>
            <a:spLocks noGrp="1"/>
          </p:cNvSpPr>
          <p:nvPr>
            <p:ph type="pic" sz="quarter" idx="22"/>
          </p:nvPr>
        </p:nvSpPr>
        <p:spPr>
          <a:xfrm>
            <a:off x="7366641" y="-165505"/>
            <a:ext cx="7266056" cy="7733989"/>
          </a:xfrm>
          <a:custGeom>
            <a:avLst/>
            <a:gdLst>
              <a:gd name="connsiteX0" fmla="*/ 2790799 w 7411756"/>
              <a:gd name="connsiteY0" fmla="*/ 4896664 h 7887953"/>
              <a:gd name="connsiteX1" fmla="*/ 3060870 w 7411756"/>
              <a:gd name="connsiteY1" fmla="*/ 4999458 h 7887953"/>
              <a:gd name="connsiteX2" fmla="*/ 4240600 w 7411756"/>
              <a:gd name="connsiteY2" fmla="*/ 6116596 h 7887953"/>
              <a:gd name="connsiteX3" fmla="*/ 4257932 w 7411756"/>
              <a:gd name="connsiteY3" fmla="*/ 6655212 h 7887953"/>
              <a:gd name="connsiteX4" fmla="*/ 3226696 w 7411756"/>
              <a:gd name="connsiteY4" fmla="*/ 7767442 h 7887953"/>
              <a:gd name="connsiteX5" fmla="*/ 2693731 w 7411756"/>
              <a:gd name="connsiteY5" fmla="*/ 7784958 h 7887953"/>
              <a:gd name="connsiteX6" fmla="*/ 1514001 w 7411756"/>
              <a:gd name="connsiteY6" fmla="*/ 6667819 h 7887953"/>
              <a:gd name="connsiteX7" fmla="*/ 1496669 w 7411756"/>
              <a:gd name="connsiteY7" fmla="*/ 6129203 h 7887953"/>
              <a:gd name="connsiteX8" fmla="*/ 2527906 w 7411756"/>
              <a:gd name="connsiteY8" fmla="*/ 5016973 h 7887953"/>
              <a:gd name="connsiteX9" fmla="*/ 2790799 w 7411756"/>
              <a:gd name="connsiteY9" fmla="*/ 4896664 h 7887953"/>
              <a:gd name="connsiteX10" fmla="*/ 2214264 w 7411756"/>
              <a:gd name="connsiteY10" fmla="*/ 317 h 7887953"/>
              <a:gd name="connsiteX11" fmla="*/ 2642624 w 7411756"/>
              <a:gd name="connsiteY11" fmla="*/ 161647 h 7887953"/>
              <a:gd name="connsiteX12" fmla="*/ 4239388 w 7411756"/>
              <a:gd name="connsiteY12" fmla="*/ 1657829 h 7887953"/>
              <a:gd name="connsiteX13" fmla="*/ 4522839 w 7411756"/>
              <a:gd name="connsiteY13" fmla="*/ 1355323 h 7887953"/>
              <a:gd name="connsiteX14" fmla="*/ 4866925 w 7411756"/>
              <a:gd name="connsiteY14" fmla="*/ 1199510 h 7887953"/>
              <a:gd name="connsiteX15" fmla="*/ 5220406 w 7411756"/>
              <a:gd name="connsiteY15" fmla="*/ 1332639 h 7887953"/>
              <a:gd name="connsiteX16" fmla="*/ 6764487 w 7411756"/>
              <a:gd name="connsiteY16" fmla="*/ 2779456 h 7887953"/>
              <a:gd name="connsiteX17" fmla="*/ 6787171 w 7411756"/>
              <a:gd name="connsiteY17" fmla="*/ 3477024 h 7887953"/>
              <a:gd name="connsiteX18" fmla="*/ 6696322 w 7411756"/>
              <a:gd name="connsiteY18" fmla="*/ 3573980 h 7887953"/>
              <a:gd name="connsiteX19" fmla="*/ 7255682 w 7411756"/>
              <a:gd name="connsiteY19" fmla="*/ 4098104 h 7887953"/>
              <a:gd name="connsiteX20" fmla="*/ 7278366 w 7411756"/>
              <a:gd name="connsiteY20" fmla="*/ 4795672 h 7887953"/>
              <a:gd name="connsiteX21" fmla="*/ 5928641 w 7411756"/>
              <a:gd name="connsiteY21" fmla="*/ 6236133 h 7887953"/>
              <a:gd name="connsiteX22" fmla="*/ 5231073 w 7411756"/>
              <a:gd name="connsiteY22" fmla="*/ 6258818 h 7887953"/>
              <a:gd name="connsiteX23" fmla="*/ 3686992 w 7411756"/>
              <a:gd name="connsiteY23" fmla="*/ 4812000 h 7887953"/>
              <a:gd name="connsiteX24" fmla="*/ 3664308 w 7411756"/>
              <a:gd name="connsiteY24" fmla="*/ 4114433 h 7887953"/>
              <a:gd name="connsiteX25" fmla="*/ 3755157 w 7411756"/>
              <a:gd name="connsiteY25" fmla="*/ 4017477 h 7887953"/>
              <a:gd name="connsiteX26" fmla="*/ 3546488 w 7411756"/>
              <a:gd name="connsiteY26" fmla="*/ 3821952 h 7887953"/>
              <a:gd name="connsiteX27" fmla="*/ 2905640 w 7411756"/>
              <a:gd name="connsiteY27" fmla="*/ 4505881 h 7887953"/>
              <a:gd name="connsiteX28" fmla="*/ 2060305 w 7411756"/>
              <a:gd name="connsiteY28" fmla="*/ 4533372 h 7887953"/>
              <a:gd name="connsiteX29" fmla="*/ 189137 w 7411756"/>
              <a:gd name="connsiteY29" fmla="*/ 2780070 h 7887953"/>
              <a:gd name="connsiteX30" fmla="*/ 161647 w 7411756"/>
              <a:gd name="connsiteY30" fmla="*/ 1934735 h 7887953"/>
              <a:gd name="connsiteX31" fmla="*/ 1797290 w 7411756"/>
              <a:gd name="connsiteY31" fmla="*/ 189137 h 7887953"/>
              <a:gd name="connsiteX32" fmla="*/ 2214264 w 7411756"/>
              <a:gd name="connsiteY32" fmla="*/ 317 h 78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1756" h="7887953">
                <a:moveTo>
                  <a:pt x="2790799" y="4896664"/>
                </a:moveTo>
                <a:cubicBezTo>
                  <a:pt x="2887246" y="4893494"/>
                  <a:pt x="2984890" y="4927509"/>
                  <a:pt x="3060870" y="4999458"/>
                </a:cubicBezTo>
                <a:lnTo>
                  <a:pt x="4240600" y="6116596"/>
                </a:lnTo>
                <a:cubicBezTo>
                  <a:pt x="4392560" y="6260493"/>
                  <a:pt x="4400320" y="6501640"/>
                  <a:pt x="4257932" y="6655212"/>
                </a:cubicBezTo>
                <a:lnTo>
                  <a:pt x="3226696" y="7767442"/>
                </a:lnTo>
                <a:cubicBezTo>
                  <a:pt x="3084308" y="7921014"/>
                  <a:pt x="2845691" y="7928856"/>
                  <a:pt x="2693731" y="7784958"/>
                </a:cubicBezTo>
                <a:lnTo>
                  <a:pt x="1514001" y="6667819"/>
                </a:lnTo>
                <a:cubicBezTo>
                  <a:pt x="1362040" y="6523922"/>
                  <a:pt x="1354281" y="6282775"/>
                  <a:pt x="1496669" y="6129203"/>
                </a:cubicBezTo>
                <a:lnTo>
                  <a:pt x="2527906" y="5016973"/>
                </a:lnTo>
                <a:cubicBezTo>
                  <a:pt x="2599099" y="4940188"/>
                  <a:pt x="2694351" y="4899834"/>
                  <a:pt x="2790799" y="4896664"/>
                </a:cubicBezTo>
                <a:close/>
                <a:moveTo>
                  <a:pt x="2214264" y="317"/>
                </a:moveTo>
                <a:cubicBezTo>
                  <a:pt x="2367239" y="-4657"/>
                  <a:pt x="2522112" y="48726"/>
                  <a:pt x="2642624" y="161647"/>
                </a:cubicBezTo>
                <a:lnTo>
                  <a:pt x="4239388" y="1657829"/>
                </a:lnTo>
                <a:lnTo>
                  <a:pt x="4522839" y="1355323"/>
                </a:lnTo>
                <a:cubicBezTo>
                  <a:pt x="4616020" y="1255877"/>
                  <a:pt x="4740689" y="1203615"/>
                  <a:pt x="4866925" y="1199510"/>
                </a:cubicBezTo>
                <a:cubicBezTo>
                  <a:pt x="4993159" y="1195405"/>
                  <a:pt x="5120960" y="1239457"/>
                  <a:pt x="5220406" y="1332639"/>
                </a:cubicBezTo>
                <a:lnTo>
                  <a:pt x="6764487" y="2779456"/>
                </a:lnTo>
                <a:cubicBezTo>
                  <a:pt x="6963378" y="2965820"/>
                  <a:pt x="6973535" y="3278132"/>
                  <a:pt x="6787171" y="3477024"/>
                </a:cubicBezTo>
                <a:lnTo>
                  <a:pt x="6696322" y="3573980"/>
                </a:lnTo>
                <a:lnTo>
                  <a:pt x="7255682" y="4098104"/>
                </a:lnTo>
                <a:cubicBezTo>
                  <a:pt x="7454573" y="4284468"/>
                  <a:pt x="7464729" y="4596780"/>
                  <a:pt x="7278366" y="4795672"/>
                </a:cubicBezTo>
                <a:lnTo>
                  <a:pt x="5928641" y="6236133"/>
                </a:lnTo>
                <a:cubicBezTo>
                  <a:pt x="5742277" y="6435025"/>
                  <a:pt x="5429965" y="6445182"/>
                  <a:pt x="5231073" y="6258818"/>
                </a:cubicBezTo>
                <a:lnTo>
                  <a:pt x="3686992" y="4812000"/>
                </a:lnTo>
                <a:cubicBezTo>
                  <a:pt x="3488100" y="4625637"/>
                  <a:pt x="3477944" y="4313325"/>
                  <a:pt x="3664308" y="4114433"/>
                </a:cubicBezTo>
                <a:lnTo>
                  <a:pt x="3755157" y="4017477"/>
                </a:lnTo>
                <a:lnTo>
                  <a:pt x="3546488" y="3821952"/>
                </a:lnTo>
                <a:lnTo>
                  <a:pt x="2905640" y="4505881"/>
                </a:lnTo>
                <a:cubicBezTo>
                  <a:pt x="2679799" y="4746905"/>
                  <a:pt x="2301329" y="4759213"/>
                  <a:pt x="2060305" y="4533372"/>
                </a:cubicBezTo>
                <a:lnTo>
                  <a:pt x="189137" y="2780070"/>
                </a:lnTo>
                <a:cubicBezTo>
                  <a:pt x="-51887" y="2554229"/>
                  <a:pt x="-64194" y="2175759"/>
                  <a:pt x="161647" y="1934735"/>
                </a:cubicBezTo>
                <a:lnTo>
                  <a:pt x="1797290" y="189137"/>
                </a:lnTo>
                <a:cubicBezTo>
                  <a:pt x="1910210" y="68625"/>
                  <a:pt x="2061288" y="5292"/>
                  <a:pt x="2214264" y="317"/>
                </a:cubicBezTo>
                <a:close/>
              </a:path>
            </a:pathLst>
          </a:custGeom>
          <a:blipFill>
            <a:blip r:embed="rId2">
              <a:extLst>
                <a:ext uri="{28A0092B-C50C-407E-A947-70E740481C1C}">
                  <a14:useLocalDpi xmlns:a14="http://schemas.microsoft.com/office/drawing/2010/main"/>
                </a:ext>
              </a:extLst>
            </a:blip>
            <a:stretch>
              <a:fillRect/>
            </a:stretch>
          </a:blipFill>
        </p:spPr>
        <p:txBody>
          <a:bodyPr wrap="square">
            <a:noAutofit/>
          </a:bodyPr>
          <a:lstStyle/>
          <a:p>
            <a:endParaRPr lang="en-US"/>
          </a:p>
        </p:txBody>
      </p:sp>
      <p:sp>
        <p:nvSpPr>
          <p:cNvPr id="89" name="Footer Placeholder 14">
            <a:extLst>
              <a:ext uri="{FF2B5EF4-FFF2-40B4-BE49-F238E27FC236}">
                <a16:creationId xmlns:a16="http://schemas.microsoft.com/office/drawing/2014/main" id="{928B6582-54BE-46D9-AA61-E0DD2C2CB38F}"/>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44794426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469994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474655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92526777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 Only: Click to add 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67646177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rgbClr val="008C7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rgbClr val="008C7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08ADAD4-A20A-4618-A70E-766269BDAF2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57245192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034A38F-4DC1-4A22-9B64-D6ED08340E98}"/>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313327938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198525786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570283" y="-1355124"/>
            <a:ext cx="11919788" cy="12022087"/>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pic>
        <p:nvPicPr>
          <p:cNvPr id="11" name="Picture 9">
            <a:extLst>
              <a:ext uri="{FF2B5EF4-FFF2-40B4-BE49-F238E27FC236}">
                <a16:creationId xmlns:a16="http://schemas.microsoft.com/office/drawing/2014/main" id="{561AB51C-6A77-442C-A443-564D1F45500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30916" y="486947"/>
            <a:ext cx="10869930" cy="6371053"/>
          </a:xfrm>
          <a:prstGeom prst="rect">
            <a:avLst/>
          </a:prstGeom>
        </p:spPr>
      </p:pic>
    </p:spTree>
    <p:extLst>
      <p:ext uri="{BB962C8B-B14F-4D97-AF65-F5344CB8AC3E}">
        <p14:creationId xmlns:p14="http://schemas.microsoft.com/office/powerpoint/2010/main" val="236686403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B8FEFBE-0A0F-4AD9-8280-9D623AE3779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98894334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5"/>
              </a:lnSpc>
              <a:spcBef>
                <a:spcPts val="882"/>
              </a:spcBef>
              <a:buFont typeface="Arial" panose="020B0604020202020204" pitchFamily="34" charset="0"/>
              <a:buNone/>
              <a:defRPr sz="980" b="0" i="0" spc="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74468240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7620512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50584"/>
          <a:stretch/>
        </p:blipFill>
        <p:spPr>
          <a:xfrm>
            <a:off x="274249" y="257170"/>
            <a:ext cx="1119930" cy="569191"/>
          </a:xfrm>
          <a:prstGeom prst="rect">
            <a:avLst/>
          </a:prstGeom>
        </p:spPr>
      </p:pic>
    </p:spTree>
    <p:extLst>
      <p:ext uri="{BB962C8B-B14F-4D97-AF65-F5344CB8AC3E}">
        <p14:creationId xmlns:p14="http://schemas.microsoft.com/office/powerpoint/2010/main" val="6845255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6D1F156F-23F4-49BE-B101-AC23E79B7D6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V="1">
            <a:off x="7750630" y="4359729"/>
            <a:ext cx="4441370" cy="2498271"/>
          </a:xfrm>
          <a:prstGeom prst="rect">
            <a:avLst/>
          </a:prstGeom>
        </p:spPr>
      </p:pic>
      <p:sp>
        <p:nvSpPr>
          <p:cNvPr id="2" name="Title 1"/>
          <p:cNvSpPr>
            <a:spLocks noGrp="1"/>
          </p:cNvSpPr>
          <p:nvPr>
            <p:ph type="title"/>
          </p:nvPr>
        </p:nvSpPr>
        <p:spPr>
          <a:xfrm>
            <a:off x="269240" y="289513"/>
            <a:ext cx="11495723" cy="904289"/>
          </a:xfrm>
        </p:spPr>
        <p:txBody>
          <a:bodyPr/>
          <a:lstStyle>
            <a:lvl1pPr algn="l" defTabSz="914016" rtl="0" eaLnBrk="1" latinLnBrk="0" hangingPunct="1">
              <a:lnSpc>
                <a:spcPct val="90000"/>
              </a:lnSpc>
              <a:spcBef>
                <a:spcPct val="0"/>
              </a:spcBef>
              <a:buNone/>
              <a:defRPr lang="en-US" sz="3200" b="0" kern="1200" cap="none" spc="-100" baseline="0" dirty="0">
                <a:ln w="3175">
                  <a:noFill/>
                </a:ln>
                <a:solidFill>
                  <a:schemeClr val="accent3"/>
                </a:solidFill>
                <a:effectLst/>
                <a:latin typeface="+mj-lt"/>
                <a:ea typeface="+mn-ea"/>
                <a:cs typeface="Segoe UI"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lvl1pPr>
              <a:defRPr sz="800">
                <a:solidFill>
                  <a:schemeClr val="tx2"/>
                </a:solidFill>
              </a:defRPr>
            </a:lvl1pPr>
          </a:lstStyle>
          <a:p>
            <a:pPr defTabSz="914016"/>
            <a:fld id="{27258FFF-F925-446B-8502-81C933981705}" type="slidenum">
              <a:rPr lang="en-US" smtClean="0"/>
              <a:pPr defTabSz="914016"/>
              <a:t>‹#›</a:t>
            </a:fld>
            <a:endParaRPr lang="en-US"/>
          </a:p>
        </p:txBody>
      </p:sp>
    </p:spTree>
    <p:extLst>
      <p:ext uri="{BB962C8B-B14F-4D97-AF65-F5344CB8AC3E}">
        <p14:creationId xmlns:p14="http://schemas.microsoft.com/office/powerpoint/2010/main" val="181258726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970394"/>
          </a:xfr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4099677557"/>
      </p:ext>
    </p:extLst>
  </p:cSld>
  <p:clrMapOvr>
    <a:masterClrMapping/>
  </p:clrMapOvr>
  <p:transition>
    <p:fade/>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52684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7" y="1922804"/>
            <a:ext cx="4758211" cy="543097"/>
          </a:xfrm>
        </p:spPr>
        <p:txBody>
          <a:bodyPr wrap="square" lIns="0" tIns="0" rIns="0" bIns="0">
            <a:spAutoFit/>
          </a:bodyPr>
          <a:lstStyle>
            <a:lvl1pPr marL="0" indent="0">
              <a:lnSpc>
                <a:spcPct val="90000"/>
              </a:lnSpc>
              <a:spcAft>
                <a:spcPts val="1200"/>
              </a:spcAft>
              <a:buNone/>
              <a:defRPr sz="1961" b="0" i="0">
                <a:solidFill>
                  <a:schemeClr val="tx1"/>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2322479"/>
      </p:ext>
    </p:extLst>
  </p:cSld>
  <p:clrMapOvr>
    <a:masterClrMapping/>
  </p:clrMapOvr>
  <p:transition>
    <p:fade/>
  </p:transition>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3200">
                <a:solidFill>
                  <a:schemeClr val="tx2"/>
                </a:solidFill>
                <a:latin typeface="+mj-lt"/>
              </a:defRPr>
            </a:lvl1pPr>
          </a:lstStyle>
          <a:p>
            <a:r>
              <a:rPr lang="en-US"/>
              <a:t>Click to edit Master title style</a:t>
            </a:r>
          </a:p>
        </p:txBody>
      </p:sp>
      <p:sp>
        <p:nvSpPr>
          <p:cNvPr id="4" name="Slide Number Placeholder 2"/>
          <p:cNvSpPr>
            <a:spLocks noGrp="1"/>
          </p:cNvSpPr>
          <p:nvPr>
            <p:ph type="sldNum" sz="quarter" idx="11"/>
          </p:nvPr>
        </p:nvSpPr>
        <p:spPr>
          <a:xfrm>
            <a:off x="11367166" y="6561764"/>
            <a:ext cx="555596" cy="134483"/>
          </a:xfrm>
        </p:spPr>
        <p:txBody>
          <a:bodyPr/>
          <a:lstStyle/>
          <a:p>
            <a:fld id="{27258FFF-F925-446B-8502-81C933981705}" type="slidenum">
              <a:rPr>
                <a:solidFill>
                  <a:srgbClr val="505050"/>
                </a:solidFill>
              </a:rPr>
              <a:pPr/>
              <a:t>‹#›</a:t>
            </a:fld>
            <a:endParaRPr>
              <a:solidFill>
                <a:srgbClr val="505050"/>
              </a:solidFill>
            </a:endParaRPr>
          </a:p>
        </p:txBody>
      </p:sp>
      <p:sp>
        <p:nvSpPr>
          <p:cNvPr id="5" name="Footer Placeholder 3">
            <a:extLst>
              <a:ext uri="{FF2B5EF4-FFF2-40B4-BE49-F238E27FC236}">
                <a16:creationId xmlns:a16="http://schemas.microsoft.com/office/drawing/2014/main" id="{AAFF5CE3-5A54-4792-A64E-FD259F3168E3}"/>
              </a:ext>
            </a:extLst>
          </p:cNvPr>
          <p:cNvSpPr>
            <a:spLocks noGrp="1"/>
          </p:cNvSpPr>
          <p:nvPr>
            <p:ph type="ftr" sz="quarter" idx="12"/>
          </p:nvPr>
        </p:nvSpPr>
        <p:spPr>
          <a:xfrm>
            <a:off x="448212" y="6561764"/>
            <a:ext cx="3859607" cy="134483"/>
          </a:xfrm>
        </p:spPr>
        <p:txBody>
          <a:bodyPr/>
          <a:lstStyle/>
          <a:p>
            <a:r>
              <a:rPr lang="en-US">
                <a:solidFill>
                  <a:srgbClr val="505050"/>
                </a:solidFill>
              </a:rPr>
              <a:t>Microsoft Confidential - Internal Only</a:t>
            </a:r>
          </a:p>
        </p:txBody>
      </p:sp>
    </p:spTree>
    <p:extLst>
      <p:ext uri="{BB962C8B-B14F-4D97-AF65-F5344CB8AC3E}">
        <p14:creationId xmlns:p14="http://schemas.microsoft.com/office/powerpoint/2010/main" val="424736750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495723" cy="818703"/>
          </a:xfrm>
        </p:spPr>
        <p:txBody>
          <a:bodyPr/>
          <a:lstStyle>
            <a:lvl1pPr>
              <a:defRPr lang="en-US" sz="3200" b="0" kern="1200" cap="none" spc="-10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7"/>
          <p:cNvSpPr>
            <a:spLocks noGrp="1"/>
          </p:cNvSpPr>
          <p:nvPr>
            <p:ph type="body" sz="quarter" idx="11" hasCustomPrompt="1"/>
          </p:nvPr>
        </p:nvSpPr>
        <p:spPr>
          <a:xfrm>
            <a:off x="269240" y="1086665"/>
            <a:ext cx="11495723" cy="430901"/>
          </a:xfrm>
        </p:spPr>
        <p:txBody>
          <a:bodyPr tIns="0" bIns="0" anchor="ctr">
            <a:spAutoFit/>
          </a:bodyPr>
          <a:lstStyle>
            <a:lvl1pPr marL="0" indent="0">
              <a:buNone/>
              <a:defRPr sz="2800"/>
            </a:lvl1pPr>
            <a:lvl2pPr>
              <a:defRPr sz="1765"/>
            </a:lvl2pPr>
            <a:lvl3pPr>
              <a:defRPr sz="1567"/>
            </a:lvl3pPr>
            <a:lvl4pPr>
              <a:defRPr sz="1370"/>
            </a:lvl4pPr>
            <a:lvl5pPr>
              <a:defRPr sz="1370"/>
            </a:lvl5pPr>
          </a:lstStyle>
          <a:p>
            <a:pPr lvl="0"/>
            <a:r>
              <a:rPr lang="en-US"/>
              <a:t>Subtitle</a:t>
            </a:r>
          </a:p>
        </p:txBody>
      </p:sp>
      <p:sp>
        <p:nvSpPr>
          <p:cNvPr id="4" name="Footer Placeholder 3"/>
          <p:cNvSpPr>
            <a:spLocks noGrp="1"/>
          </p:cNvSpPr>
          <p:nvPr>
            <p:ph type="ftr" sz="quarter" idx="12"/>
          </p:nvPr>
        </p:nvSpPr>
        <p:spPr/>
        <p:txBody>
          <a:bodyPr/>
          <a:lstStyle/>
          <a:p>
            <a:r>
              <a:rPr lang="en-US">
                <a:solidFill>
                  <a:srgbClr val="505050"/>
                </a:solidFill>
              </a:rPr>
              <a:t>Microsoft Confidential - Internal Only</a:t>
            </a:r>
          </a:p>
        </p:txBody>
      </p:sp>
      <p:sp>
        <p:nvSpPr>
          <p:cNvPr id="5" name="Slide Number Placeholder 4"/>
          <p:cNvSpPr>
            <a:spLocks noGrp="1"/>
          </p:cNvSpPr>
          <p:nvPr>
            <p:ph type="sldNum" sz="quarter" idx="13"/>
          </p:nvPr>
        </p:nvSpPr>
        <p:spPr/>
        <p:txBody>
          <a:bodyPr/>
          <a:lstStyle>
            <a:lvl1pPr>
              <a:defRPr sz="800">
                <a:solidFill>
                  <a:schemeClr val="tx2"/>
                </a:solidFill>
              </a:defRPr>
            </a:lvl1pPr>
          </a:lstStyle>
          <a:p>
            <a:pPr defTabSz="914016"/>
            <a:fld id="{27258FFF-F925-446B-8502-81C933981705}" type="slidenum">
              <a:rPr lang="en-US" smtClean="0"/>
              <a:pPr defTabSz="914016"/>
              <a:t>‹#›</a:t>
            </a:fld>
            <a:endParaRPr lang="en-US"/>
          </a:p>
        </p:txBody>
      </p:sp>
    </p:spTree>
    <p:extLst>
      <p:ext uri="{BB962C8B-B14F-4D97-AF65-F5344CB8AC3E}">
        <p14:creationId xmlns:p14="http://schemas.microsoft.com/office/powerpoint/2010/main" val="221061033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1805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42673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4"/>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1"/>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Tree>
    <p:extLst>
      <p:ext uri="{BB962C8B-B14F-4D97-AF65-F5344CB8AC3E}">
        <p14:creationId xmlns:p14="http://schemas.microsoft.com/office/powerpoint/2010/main" val="491095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80" y="228603"/>
            <a:ext cx="11296416" cy="656655"/>
          </a:xfrm>
        </p:spPr>
        <p:txBody>
          <a:bodyPr/>
          <a:lstStyle>
            <a:lvl1pPr marL="0" indent="0">
              <a:buFont typeface="Wingdings" panose="05000000000000000000" pitchFamily="2" charset="2"/>
              <a:buNone/>
              <a:defRPr sz="4266"/>
            </a:lvl1pPr>
          </a:lstStyle>
          <a:p>
            <a:r>
              <a:rPr lang="en-US"/>
              <a:t>Click to edit Master title style</a:t>
            </a:r>
          </a:p>
        </p:txBody>
      </p:sp>
      <p:sp>
        <p:nvSpPr>
          <p:cNvPr id="3" name="Text Placeholder 2"/>
          <p:cNvSpPr>
            <a:spLocks noGrp="1"/>
          </p:cNvSpPr>
          <p:nvPr>
            <p:ph type="body" sz="quarter" idx="10"/>
          </p:nvPr>
        </p:nvSpPr>
        <p:spPr>
          <a:xfrm>
            <a:off x="584200" y="1435499"/>
            <a:ext cx="11018520" cy="1612749"/>
          </a:xfrm>
        </p:spPr>
        <p:txBody>
          <a:bodyPr/>
          <a:lstStyle>
            <a:lvl1pPr marL="228550" indent="-228550">
              <a:buFont typeface="Wingdings" panose="05000000000000000000" pitchFamily="2" charset="2"/>
              <a:buChar char="§"/>
              <a:defRPr/>
            </a:lvl1pPr>
            <a:lvl2pPr marL="457101" indent="-228550">
              <a:buFont typeface="Wingdings" panose="05000000000000000000" pitchFamily="2" charset="2"/>
              <a:buChar char="§"/>
              <a:defRPr/>
            </a:lvl2pPr>
            <a:lvl3pPr marL="657082" indent="-199981">
              <a:buFont typeface="Wingdings" panose="05000000000000000000" pitchFamily="2" charset="2"/>
              <a:buChar char="§"/>
              <a:defRPr/>
            </a:lvl3pPr>
            <a:lvl4pPr marL="842781" indent="-180935">
              <a:buFont typeface="Wingdings" panose="05000000000000000000" pitchFamily="2" charset="2"/>
              <a:buChar char="§"/>
              <a:defRPr/>
            </a:lvl4pPr>
            <a:lvl5pPr marL="1023717" indent="-168238">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02477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881503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45806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553988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1"/>
            <a:ext cx="7254865" cy="543185"/>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85857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79"/>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00928234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396032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96467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568047" y="173701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568047" y="2921256"/>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568047" y="4096366"/>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3"/>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3" y="1700067"/>
            <a:ext cx="3556129" cy="770920"/>
          </a:xfrm>
        </p:spPr>
        <p:txBody>
          <a:bodyPr wrap="square" lIns="0" tIns="0" rIns="0" bIns="0">
            <a:noAutofit/>
          </a:bodyPr>
          <a:lstStyle>
            <a:lvl1pPr marL="0" marR="0" indent="0" algn="l" defTabSz="914192"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1560597162"/>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3"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8"/>
            <a:ext cx="11055906"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8" y="1355683"/>
            <a:ext cx="11046887" cy="301770"/>
          </a:xfrm>
        </p:spPr>
        <p:txBody>
          <a:bodyPr wrap="square" lIns="0" tIns="0" rIns="0" bIns="0">
            <a:spAutoFit/>
          </a:bodyPr>
          <a:lstStyle>
            <a:lvl1pPr marL="0" indent="0" algn="ctr">
              <a:lnSpc>
                <a:spcPct val="100000"/>
              </a:lnSpc>
              <a:spcBef>
                <a:spcPts val="0"/>
              </a:spcBef>
              <a:spcAft>
                <a:spcPts val="1273"/>
              </a:spcAft>
              <a:buNone/>
              <a:defRPr sz="1961" b="0" i="0">
                <a:solidFill>
                  <a:srgbClr val="000000"/>
                </a:solidFill>
                <a:latin typeface="Segoe UI Light" panose="020B0502040204020203" pitchFamily="34" charset="0"/>
                <a:cs typeface="Segoe UI Light" panose="020B0502040204020203" pitchFamily="34" charset="0"/>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2"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26463890"/>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91648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735059"/>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857508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2"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7"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7" y="4026703"/>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3"/>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3"/>
            <a:ext cx="2315762" cy="136396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3"/>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683498"/>
            <a:ext cx="11055906"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8" y="1355683"/>
            <a:ext cx="11046887" cy="301770"/>
          </a:xfrm>
        </p:spPr>
        <p:txBody>
          <a:bodyPr wrap="square" lIns="0" tIns="0" rIns="0" bIns="0">
            <a:spAutoFit/>
          </a:bodyPr>
          <a:lstStyle>
            <a:lvl1pPr marL="0" indent="0" algn="ctr">
              <a:lnSpc>
                <a:spcPct val="100000"/>
              </a:lnSpc>
              <a:spcBef>
                <a:spcPts val="0"/>
              </a:spcBef>
              <a:spcAft>
                <a:spcPts val="1273"/>
              </a:spcAft>
              <a:buNone/>
              <a:defRPr sz="1961" b="0" i="0">
                <a:solidFill>
                  <a:srgbClr val="000000"/>
                </a:solidFill>
                <a:latin typeface="Segoe UI Light" panose="020B0502040204020203" pitchFamily="34" charset="0"/>
                <a:cs typeface="Segoe UI Light" panose="020B0502040204020203" pitchFamily="34" charset="0"/>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0pt</a:t>
            </a:r>
          </a:p>
        </p:txBody>
      </p:sp>
    </p:spTree>
    <p:extLst>
      <p:ext uri="{BB962C8B-B14F-4D97-AF65-F5344CB8AC3E}">
        <p14:creationId xmlns:p14="http://schemas.microsoft.com/office/powerpoint/2010/main" val="1440261322"/>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569074"/>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84143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569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91400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4_Title Slide 1">
    <p:bg>
      <p:bgPr>
        <a:solidFill>
          <a:schemeClr val="bg2"/>
        </a:solidFill>
        <a:effectLst/>
      </p:bgPr>
    </p:bg>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6012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0129"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18" name="Picture 17" descr="A picture containing drawing&#10;&#10;Description automatically generated">
            <a:extLst>
              <a:ext uri="{FF2B5EF4-FFF2-40B4-BE49-F238E27FC236}">
                <a16:creationId xmlns:a16="http://schemas.microsoft.com/office/drawing/2014/main" id="{2F413392-2770-4269-95BF-CBC43B25D3E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88" t="29716" r="7152" b="29716"/>
          <a:stretch/>
        </p:blipFill>
        <p:spPr>
          <a:xfrm>
            <a:off x="442912" y="446900"/>
            <a:ext cx="1808163" cy="205022"/>
          </a:xfrm>
          <a:prstGeom prst="rect">
            <a:avLst/>
          </a:prstGeom>
        </p:spPr>
      </p:pic>
    </p:spTree>
    <p:extLst>
      <p:ext uri="{BB962C8B-B14F-4D97-AF65-F5344CB8AC3E}">
        <p14:creationId xmlns:p14="http://schemas.microsoft.com/office/powerpoint/2010/main" val="1264225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A8A467-97D1-4227-BA94-D57AAEE472A9}"/>
              </a:ext>
            </a:extLst>
          </p:cNvPr>
          <p:cNvPicPr>
            <a:picLocks noChangeAspect="1"/>
          </p:cNvPicPr>
          <p:nvPr userDrawn="1"/>
        </p:nvPicPr>
        <p:blipFill>
          <a:blip r:embed="rId2"/>
          <a:stretch>
            <a:fillRect/>
          </a:stretch>
        </p:blipFill>
        <p:spPr>
          <a:xfrm>
            <a:off x="2655" y="0"/>
            <a:ext cx="12186689" cy="6858000"/>
          </a:xfrm>
          <a:prstGeom prst="rect">
            <a:avLst/>
          </a:prstGeom>
        </p:spPr>
      </p:pic>
      <p:pic>
        <p:nvPicPr>
          <p:cNvPr id="5" name="Picture 4">
            <a:extLst>
              <a:ext uri="{FF2B5EF4-FFF2-40B4-BE49-F238E27FC236}">
                <a16:creationId xmlns:a16="http://schemas.microsoft.com/office/drawing/2014/main" id="{4C0A567E-3D24-42EC-B883-67825E7CCF2B}"/>
              </a:ext>
            </a:extLst>
          </p:cNvPr>
          <p:cNvPicPr>
            <a:picLocks noChangeAspect="1" noChangeArrowheads="1"/>
          </p:cNvPicPr>
          <p:nvPr userDrawn="1"/>
        </p:nvPicPr>
        <p:blipFill>
          <a:blip r:embed="rId3" cstate="email">
            <a:clrChange>
              <a:clrFrom>
                <a:srgbClr val="F3F3F3"/>
              </a:clrFrom>
              <a:clrTo>
                <a:srgbClr val="F3F3F3">
                  <a:alpha val="0"/>
                </a:srgbClr>
              </a:clrTo>
            </a:clrChange>
            <a:extLst>
              <a:ext uri="{28A0092B-C50C-407E-A947-70E740481C1C}">
                <a14:useLocalDpi xmlns:a14="http://schemas.microsoft.com/office/drawing/2010/main"/>
              </a:ext>
            </a:extLst>
          </a:blip>
          <a:srcRect/>
          <a:stretch>
            <a:fillRect/>
          </a:stretch>
        </p:blipFill>
        <p:spPr bwMode="auto">
          <a:xfrm>
            <a:off x="5893371" y="1567367"/>
            <a:ext cx="649732" cy="64973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1">
            <a:extLst>
              <a:ext uri="{FF2B5EF4-FFF2-40B4-BE49-F238E27FC236}">
                <a16:creationId xmlns:a16="http://schemas.microsoft.com/office/drawing/2014/main" id="{56C8EAEF-E8E7-4524-830E-A47A78C2B213}"/>
              </a:ext>
            </a:extLst>
          </p:cNvPr>
          <p:cNvSpPr>
            <a:spLocks noGrp="1"/>
          </p:cNvSpPr>
          <p:nvPr>
            <p:ph type="body" sz="quarter" idx="10" hasCustomPrompt="1"/>
          </p:nvPr>
        </p:nvSpPr>
        <p:spPr>
          <a:xfrm>
            <a:off x="681077" y="3497261"/>
            <a:ext cx="11074319" cy="546753"/>
          </a:xfrm>
        </p:spPr>
        <p:txBody>
          <a:bodyPr/>
          <a:lstStyle>
            <a:lvl1pPr algn="ctr">
              <a:defRPr>
                <a:solidFill>
                  <a:schemeClr val="bg1"/>
                </a:solidFill>
              </a:defRPr>
            </a:lvl1pPr>
          </a:lstStyle>
          <a:p>
            <a:pPr marL="65088" lvl="0" defTabSz="932472" fontAlgn="base">
              <a:spcAft>
                <a:spcPct val="0"/>
              </a:spcAft>
            </a:pPr>
            <a:r>
              <a:rPr lang="en-GB">
                <a:solidFill>
                  <a:schemeClr val="bg1"/>
                </a:solidFill>
                <a:latin typeface="Segoe UI Light" panose="020B0502040204020203" pitchFamily="34" charset="0"/>
                <a:cs typeface="Segoe UI Light" panose="020B0502040204020203" pitchFamily="34" charset="0"/>
              </a:rPr>
              <a:t>Section Description</a:t>
            </a:r>
            <a:endParaRPr lang="en-US">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7" name="Title 2">
            <a:extLst>
              <a:ext uri="{FF2B5EF4-FFF2-40B4-BE49-F238E27FC236}">
                <a16:creationId xmlns:a16="http://schemas.microsoft.com/office/drawing/2014/main" id="{1F7B5033-B4D1-455F-A29F-D1683DA88828}"/>
              </a:ext>
            </a:extLst>
          </p:cNvPr>
          <p:cNvSpPr>
            <a:spLocks noGrp="1"/>
          </p:cNvSpPr>
          <p:nvPr>
            <p:ph type="title" hasCustomPrompt="1"/>
          </p:nvPr>
        </p:nvSpPr>
        <p:spPr>
          <a:xfrm>
            <a:off x="579436" y="2369251"/>
            <a:ext cx="11277600" cy="754061"/>
          </a:xfrm>
        </p:spPr>
        <p:txBody>
          <a:bodyPr anchor="ctr"/>
          <a:lstStyle>
            <a:lvl1pPr algn="ctr">
              <a:defRPr>
                <a:solidFill>
                  <a:schemeClr val="bg1"/>
                </a:solidFill>
              </a:defRPr>
            </a:lvl1pPr>
          </a:lstStyle>
          <a:p>
            <a:r>
              <a:rPr lang="en-US">
                <a:solidFill>
                  <a:schemeClr val="bg1"/>
                </a:solidFill>
              </a:rPr>
              <a:t>Section Title</a:t>
            </a:r>
          </a:p>
        </p:txBody>
      </p:sp>
    </p:spTree>
    <p:extLst>
      <p:ext uri="{BB962C8B-B14F-4D97-AF65-F5344CB8AC3E}">
        <p14:creationId xmlns:p14="http://schemas.microsoft.com/office/powerpoint/2010/main" val="1099950655"/>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92635774"/>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703" strike="noStrike" spc="-49" baseline="0">
                <a:solidFill>
                  <a:srgbClr val="742774"/>
                </a:solidFill>
              </a:defRPr>
            </a:lvl1pPr>
          </a:lstStyle>
          <a:p>
            <a:r>
              <a:rPr lang="en-US"/>
              <a:t>Power Apps presentation titl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0"/>
            </a:lvl3pPr>
            <a:lvl4pPr>
              <a:defRPr sz="1370"/>
            </a:lvl4pPr>
            <a:lvl5pPr>
              <a:defRPr sz="1027"/>
            </a:lvl5pPr>
          </a:lstStyle>
          <a:p>
            <a:pPr lvl="0"/>
            <a:r>
              <a:rPr lang="en-US"/>
              <a:t>Speaker name</a:t>
            </a:r>
          </a:p>
          <a:p>
            <a:pPr lvl="1"/>
            <a:r>
              <a:rPr lang="en-US"/>
              <a:t>Date</a:t>
            </a:r>
          </a:p>
        </p:txBody>
      </p:sp>
      <p:pic>
        <p:nvPicPr>
          <p:cNvPr id="1026" name="Picture 2">
            <a:extLst>
              <a:ext uri="{FF2B5EF4-FFF2-40B4-BE49-F238E27FC236}">
                <a16:creationId xmlns:a16="http://schemas.microsoft.com/office/drawing/2014/main" id="{DEB8F1F9-8F39-4A55-AD3C-EAB3E3DB2B4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72819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3" y="4847661"/>
            <a:ext cx="9609045"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703" strike="noStrike" spc="-49" baseline="0">
                <a:solidFill>
                  <a:schemeClr val="bg1"/>
                </a:solidFill>
              </a:defRPr>
            </a:lvl1pPr>
          </a:lstStyle>
          <a:p>
            <a:r>
              <a:rPr lang="en-US"/>
              <a:t>Power Apps presentation title</a:t>
            </a:r>
          </a:p>
        </p:txBody>
      </p:sp>
      <p:pic>
        <p:nvPicPr>
          <p:cNvPr id="7" name="Picture 2">
            <a:extLst>
              <a:ext uri="{FF2B5EF4-FFF2-40B4-BE49-F238E27FC236}">
                <a16:creationId xmlns:a16="http://schemas.microsoft.com/office/drawing/2014/main" id="{B1FD7537-C1B5-4197-91C6-A520A9D1801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6460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E7851E-5809-4667-8CBF-95E4D277F472}"/>
              </a:ext>
            </a:extLst>
          </p:cNvPr>
          <p:cNvPicPr>
            <a:picLocks noChangeAspect="1"/>
          </p:cNvPicPr>
          <p:nvPr userDrawn="1"/>
        </p:nvPicPr>
        <p:blipFill rotWithShape="1">
          <a:blip r:embed="rId2"/>
          <a:srcRect t="14462" r="14246" b="4592"/>
          <a:stretch/>
        </p:blipFill>
        <p:spPr>
          <a:xfrm>
            <a:off x="0" y="974"/>
            <a:ext cx="12192000" cy="6857026"/>
          </a:xfrm>
          <a:prstGeom prst="rect">
            <a:avLst/>
          </a:prstGeom>
        </p:spPr>
      </p:pic>
      <p:sp>
        <p:nvSpPr>
          <p:cNvPr id="9" name="Rectangle 8">
            <a:extLst>
              <a:ext uri="{FF2B5EF4-FFF2-40B4-BE49-F238E27FC236}">
                <a16:creationId xmlns:a16="http://schemas.microsoft.com/office/drawing/2014/main" id="{A982BA67-D096-4542-A8FF-CD6C7B7D4B09}"/>
              </a:ext>
            </a:extLst>
          </p:cNvPr>
          <p:cNvSpPr/>
          <p:nvPr userDrawn="1"/>
        </p:nvSpPr>
        <p:spPr bwMode="auto">
          <a:xfrm>
            <a:off x="0" y="974"/>
            <a:ext cx="12192000" cy="6857027"/>
          </a:xfrm>
          <a:prstGeom prst="rect">
            <a:avLst/>
          </a:prstGeom>
          <a:gradFill flip="none" rotWithShape="1">
            <a:gsLst>
              <a:gs pos="100000">
                <a:srgbClr val="742772">
                  <a:alpha val="0"/>
                  <a:lumMod val="47000"/>
                </a:srgbClr>
              </a:gs>
              <a:gs pos="7000">
                <a:srgbClr val="742772">
                  <a:lumMod val="26000"/>
                  <a:alpha val="94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2">
            <a:extLst>
              <a:ext uri="{FF2B5EF4-FFF2-40B4-BE49-F238E27FC236}">
                <a16:creationId xmlns:a16="http://schemas.microsoft.com/office/drawing/2014/main" id="{DC0222EA-4550-4EE4-AF58-24DB29E8E67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3" strike="noStrike" spc="-49" baseline="0">
                <a:solidFill>
                  <a:schemeClr val="bg1"/>
                </a:solidFill>
              </a:defRPr>
            </a:lvl1pPr>
          </a:lstStyle>
          <a:p>
            <a:r>
              <a:rPr lang="en-US"/>
              <a:t>Power Apps presentation title</a:t>
            </a: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Tree>
    <p:extLst>
      <p:ext uri="{BB962C8B-B14F-4D97-AF65-F5344CB8AC3E}">
        <p14:creationId xmlns:p14="http://schemas.microsoft.com/office/powerpoint/2010/main" val="9089610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a:srcRect l="17400" t="11806" b="5571"/>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4"/>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1"/>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spTree>
    <p:extLst>
      <p:ext uri="{BB962C8B-B14F-4D97-AF65-F5344CB8AC3E}">
        <p14:creationId xmlns:p14="http://schemas.microsoft.com/office/powerpoint/2010/main" val="1537874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D51B72-327F-4B5B-B9A3-07FC863BF830}"/>
              </a:ext>
            </a:extLst>
          </p:cNvPr>
          <p:cNvPicPr>
            <a:picLocks noChangeAspect="1"/>
          </p:cNvPicPr>
          <p:nvPr userDrawn="1"/>
        </p:nvPicPr>
        <p:blipFill rotWithShape="1">
          <a:blip r:embed="rId2"/>
          <a:srcRect b="15637"/>
          <a:stretch/>
        </p:blipFill>
        <p:spPr>
          <a:xfrm>
            <a:off x="-1" y="488"/>
            <a:ext cx="12192001" cy="6857027"/>
          </a:xfrm>
          <a:prstGeom prst="rect">
            <a:avLst/>
          </a:prstGeom>
        </p:spPr>
      </p:pic>
      <p:sp>
        <p:nvSpPr>
          <p:cNvPr id="8" name="Rectangle 7">
            <a:extLst>
              <a:ext uri="{FF2B5EF4-FFF2-40B4-BE49-F238E27FC236}">
                <a16:creationId xmlns:a16="http://schemas.microsoft.com/office/drawing/2014/main" id="{67351FC8-E932-439E-A0C4-005EB35D4D08}"/>
              </a:ext>
            </a:extLst>
          </p:cNvPr>
          <p:cNvSpPr/>
          <p:nvPr userDrawn="1"/>
        </p:nvSpPr>
        <p:spPr bwMode="auto">
          <a:xfrm>
            <a:off x="0" y="1"/>
            <a:ext cx="12192000" cy="6857027"/>
          </a:xfrm>
          <a:prstGeom prst="rect">
            <a:avLst/>
          </a:prstGeom>
          <a:gradFill flip="none" rotWithShape="1">
            <a:gsLst>
              <a:gs pos="100000">
                <a:srgbClr val="8C7862">
                  <a:lumMod val="0"/>
                  <a:alpha val="21000"/>
                </a:srgbClr>
              </a:gs>
              <a:gs pos="0">
                <a:srgbClr val="3E302A">
                  <a:lumMod val="13000"/>
                  <a:alpha val="91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529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5" strike="noStrike" spc="-49" baseline="0">
                <a:solidFill>
                  <a:schemeClr val="bg1"/>
                </a:solidFill>
              </a:defRPr>
            </a:lvl1pPr>
          </a:lstStyle>
          <a:p>
            <a:r>
              <a:rPr lang="en-US"/>
              <a:t>Power Apps presentation titl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727892"/>
          </a:xfrm>
        </p:spPr>
        <p:txBody>
          <a:bodyPr/>
          <a:lstStyle>
            <a:lvl1pPr>
              <a:defRPr sz="1765">
                <a:solidFill>
                  <a:schemeClr val="bg1"/>
                </a:solidFill>
              </a:defRPr>
            </a:lvl1pPr>
            <a:lvl2pPr>
              <a:defRPr sz="1765">
                <a:solidFill>
                  <a:schemeClr val="bg1"/>
                </a:solidFill>
              </a:defRPr>
            </a:lvl2pPr>
            <a:lvl3pPr>
              <a:defRPr sz="1370"/>
            </a:lvl3pPr>
            <a:lvl4pPr>
              <a:defRPr sz="1370"/>
            </a:lvl4pPr>
            <a:lvl5pPr>
              <a:defRPr sz="1027"/>
            </a:lvl5pPr>
          </a:lstStyle>
          <a:p>
            <a:pPr lvl="0"/>
            <a:r>
              <a:rPr lang="en-US"/>
              <a:t>Speaker name</a:t>
            </a:r>
          </a:p>
          <a:p>
            <a:pPr lvl="1"/>
            <a:r>
              <a:rPr lang="en-US"/>
              <a:t>Date</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097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5"/>
            <a:ext cx="3837818" cy="3786998"/>
          </a:xfrm>
        </p:spPr>
        <p:txBody>
          <a:bodyPr wrap="square" lIns="0" tIns="0" rIns="0" bIns="0">
            <a:noAutofit/>
          </a:bodyPr>
          <a:lstStyle>
            <a:lvl1pPr marL="0" indent="0" defTabSz="507136">
              <a:spcAft>
                <a:spcPts val="490"/>
              </a:spcAft>
              <a:buNone/>
              <a:defRPr sz="1765" spc="0" baseline="0">
                <a:solidFill>
                  <a:schemeClr val="tx1"/>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5022966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4"/>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021" indent="0">
              <a:buNone/>
              <a:defRPr/>
            </a:lvl3pPr>
            <a:lvl4pPr marL="672032" indent="0">
              <a:buNone/>
              <a:defRPr/>
            </a:lvl4pPr>
            <a:lvl5pPr marL="896042"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43839"/>
          </a:xfrm>
        </p:spPr>
        <p:txBody>
          <a:bodyPr lIns="0" tIns="0" rIns="0" bIns="0"/>
          <a:lstStyle>
            <a:lvl1pPr marL="0" indent="0">
              <a:lnSpc>
                <a:spcPts val="1765"/>
              </a:lnSpc>
              <a:spcBef>
                <a:spcPts val="0"/>
              </a:spcBef>
              <a:buNone/>
              <a:defRPr sz="1370" b="0" spc="0">
                <a:solidFill>
                  <a:srgbClr val="742774"/>
                </a:solidFill>
                <a:latin typeface="+mj-lt"/>
              </a:defRPr>
            </a:lvl1pPr>
            <a:lvl2pPr marL="0" indent="0">
              <a:lnSpc>
                <a:spcPts val="1765"/>
              </a:lnSpc>
              <a:spcBef>
                <a:spcPts val="0"/>
              </a:spcBef>
              <a:buNone/>
              <a:defRPr sz="1370" spc="0">
                <a:solidFill>
                  <a:schemeClr val="tx1"/>
                </a:solidFill>
              </a:defRPr>
            </a:lvl2pPr>
            <a:lvl3pPr marL="448021" indent="0">
              <a:buNone/>
              <a:defRPr/>
            </a:lvl3pPr>
            <a:lvl4pPr marL="672032" indent="0">
              <a:buNone/>
              <a:defRPr/>
            </a:lvl4pPr>
            <a:lvl5pPr marL="896042"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331946"/>
          </a:xfr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021" indent="0">
              <a:buNone/>
              <a:defRPr/>
            </a:lvl3pPr>
            <a:lvl4pPr marL="672032"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27623683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90"/>
            <a:ext cx="3618381" cy="2675220"/>
          </a:xfrm>
        </p:spPr>
        <p:txBody>
          <a:bodyPr lIns="0" tIns="0" rIns="0" bIns="0"/>
          <a:lstStyle>
            <a:lvl1pPr marL="0" indent="0">
              <a:lnSpc>
                <a:spcPts val="1765"/>
              </a:lnSpc>
              <a:spcBef>
                <a:spcPts val="0"/>
              </a:spcBef>
              <a:spcAft>
                <a:spcPts val="588"/>
              </a:spcAft>
              <a:buNone/>
              <a:defRPr sz="1370" b="0" spc="0" baseline="0">
                <a:solidFill>
                  <a:srgbClr val="742774"/>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chemeClr val="tx1"/>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a:p>
            <a:pPr marL="280013" marR="0" lvl="1" indent="-280013" algn="l" defTabSz="914016" rtl="0" eaLnBrk="1" fontAlgn="auto" latinLnBrk="0" hangingPunct="1">
              <a:lnSpc>
                <a:spcPts val="1765"/>
              </a:lnSpc>
              <a:spcBef>
                <a:spcPts val="1174"/>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13" marR="0" lvl="1" indent="-280013" algn="l" defTabSz="914016" rtl="0" eaLnBrk="1" fontAlgn="auto" latinLnBrk="0" hangingPunct="1">
              <a:lnSpc>
                <a:spcPts val="1765"/>
              </a:lnSpc>
              <a:spcBef>
                <a:spcPts val="1174"/>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90"/>
            <a:ext cx="3618381" cy="2675220"/>
          </a:xfrm>
        </p:spPr>
        <p:txBody>
          <a:bodyPr lIns="0" tIns="0" rIns="0" bIns="0"/>
          <a:lstStyle>
            <a:lvl1pPr marL="0" indent="0">
              <a:lnSpc>
                <a:spcPts val="1765"/>
              </a:lnSpc>
              <a:spcBef>
                <a:spcPts val="0"/>
              </a:spcBef>
              <a:spcAft>
                <a:spcPts val="588"/>
              </a:spcAft>
              <a:buNone/>
              <a:defRPr sz="1370" b="0" spc="0" baseline="0">
                <a:solidFill>
                  <a:srgbClr val="742774"/>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chemeClr val="tx1"/>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a:p>
            <a:pPr marL="280013" marR="0" lvl="1" indent="-280013" algn="l" defTabSz="914016" rtl="0" eaLnBrk="1" fontAlgn="auto" latinLnBrk="0" hangingPunct="1">
              <a:lnSpc>
                <a:spcPts val="1765"/>
              </a:lnSpc>
              <a:spcBef>
                <a:spcPts val="1174"/>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13" marR="0" lvl="1" indent="-280013" algn="l" defTabSz="914016" rtl="0" eaLnBrk="1" fontAlgn="auto" latinLnBrk="0" hangingPunct="1">
              <a:lnSpc>
                <a:spcPts val="1765"/>
              </a:lnSpc>
              <a:spcBef>
                <a:spcPts val="1174"/>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90"/>
            <a:ext cx="3618381" cy="2675220"/>
          </a:xfrm>
        </p:spPr>
        <p:txBody>
          <a:bodyPr lIns="0" tIns="0" rIns="0" bIns="0"/>
          <a:lstStyle>
            <a:lvl1pPr marL="0" indent="0">
              <a:lnSpc>
                <a:spcPts val="1765"/>
              </a:lnSpc>
              <a:spcBef>
                <a:spcPts val="0"/>
              </a:spcBef>
              <a:spcAft>
                <a:spcPts val="588"/>
              </a:spcAft>
              <a:buNone/>
              <a:defRPr sz="1370" b="0" spc="0" baseline="0">
                <a:solidFill>
                  <a:srgbClr val="742774"/>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chemeClr val="tx1"/>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a:p>
            <a:pPr marL="280013" marR="0" lvl="1" indent="-280013" algn="l" defTabSz="914016" rtl="0" eaLnBrk="1" fontAlgn="auto" latinLnBrk="0" hangingPunct="1">
              <a:lnSpc>
                <a:spcPts val="1765"/>
              </a:lnSpc>
              <a:spcBef>
                <a:spcPts val="1174"/>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13" marR="0" lvl="1" indent="-280013" algn="l" defTabSz="914016" rtl="0" eaLnBrk="1" fontAlgn="auto" latinLnBrk="0" hangingPunct="1">
              <a:lnSpc>
                <a:spcPts val="1765"/>
              </a:lnSpc>
              <a:spcBef>
                <a:spcPts val="1174"/>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6431727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gn="ctr">
              <a:lnSpc>
                <a:spcPts val="3135"/>
              </a:lnSpc>
              <a:defRPr sz="2745">
                <a:solidFill>
                  <a:schemeClr val="tx1"/>
                </a:solidFill>
              </a:defRPr>
            </a:lvl1pPr>
          </a:lstStyle>
          <a:p>
            <a:r>
              <a:rPr lang="en-US"/>
              <a:t>Text option 2: three columns graphic and text</a:t>
            </a:r>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
        <p:nvSpPr>
          <p:cNvPr id="6" name="Content Placeholder 15">
            <a:extLst>
              <a:ext uri="{FF2B5EF4-FFF2-40B4-BE49-F238E27FC236}">
                <a16:creationId xmlns:a16="http://schemas.microsoft.com/office/drawing/2014/main" id="{EEA06E92-94B8-442F-97BB-66C2B42F12D5}"/>
              </a:ext>
            </a:extLst>
          </p:cNvPr>
          <p:cNvSpPr>
            <a:spLocks noGrp="1"/>
          </p:cNvSpPr>
          <p:nvPr>
            <p:ph sz="quarter" idx="39" hasCustomPrompt="1"/>
          </p:nvPr>
        </p:nvSpPr>
        <p:spPr>
          <a:xfrm>
            <a:off x="8417802"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C361B3E2-AD4D-423C-969E-4A6426A268E9}"/>
              </a:ext>
            </a:extLst>
          </p:cNvPr>
          <p:cNvSpPr>
            <a:spLocks noGrp="1"/>
          </p:cNvSpPr>
          <p:nvPr>
            <p:ph sz="quarter" idx="40" hasCustomPrompt="1"/>
          </p:nvPr>
        </p:nvSpPr>
        <p:spPr>
          <a:xfrm>
            <a:off x="4768073"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7ED8A69A-A44A-4883-902F-1BA36A1B4A51}"/>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ext Placeholder 4">
            <a:extLst>
              <a:ext uri="{FF2B5EF4-FFF2-40B4-BE49-F238E27FC236}">
                <a16:creationId xmlns:a16="http://schemas.microsoft.com/office/drawing/2014/main" id="{97534958-622C-4965-9FB0-9361B441A1C0}"/>
              </a:ext>
            </a:extLst>
          </p:cNvPr>
          <p:cNvSpPr>
            <a:spLocks noGrp="1"/>
          </p:cNvSpPr>
          <p:nvPr>
            <p:ph type="body" sz="quarter" idx="32" hasCustomPrompt="1"/>
          </p:nvPr>
        </p:nvSpPr>
        <p:spPr>
          <a:xfrm>
            <a:off x="1105155"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449A7043-0027-4B17-8757-EC1847F82846}"/>
              </a:ext>
            </a:extLst>
          </p:cNvPr>
          <p:cNvSpPr>
            <a:spLocks noGrp="1"/>
          </p:cNvSpPr>
          <p:nvPr>
            <p:ph type="body" sz="quarter" idx="42" hasCustomPrompt="1"/>
          </p:nvPr>
        </p:nvSpPr>
        <p:spPr>
          <a:xfrm>
            <a:off x="4749635"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ext Placeholder 4">
            <a:extLst>
              <a:ext uri="{FF2B5EF4-FFF2-40B4-BE49-F238E27FC236}">
                <a16:creationId xmlns:a16="http://schemas.microsoft.com/office/drawing/2014/main" id="{52A26499-51E3-4A98-AD74-1A466BBCAA7F}"/>
              </a:ext>
            </a:extLst>
          </p:cNvPr>
          <p:cNvSpPr>
            <a:spLocks noGrp="1"/>
          </p:cNvSpPr>
          <p:nvPr>
            <p:ph type="body" sz="quarter" idx="43" hasCustomPrompt="1"/>
          </p:nvPr>
        </p:nvSpPr>
        <p:spPr>
          <a:xfrm>
            <a:off x="8408812"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5728314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8522689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gn="ctr">
              <a:lnSpc>
                <a:spcPts val="3135"/>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1201226"/>
          </a:xfrm>
        </p:spPr>
        <p:txBody>
          <a:bodyPr lIns="0" tIns="0" rIns="0" bIns="0"/>
          <a:lstStyle>
            <a:lvl1pPr marL="0" indent="0">
              <a:lnSpc>
                <a:spcPts val="1765"/>
              </a:lnSpc>
              <a:spcBef>
                <a:spcPts val="1176"/>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2"/>
            <a:ext cx="3618381" cy="1201226"/>
          </a:xfrm>
        </p:spPr>
        <p:txBody>
          <a:bodyPr lIns="0" tIns="0" rIns="0" bIns="0"/>
          <a:lstStyle>
            <a:lvl1pPr marL="0" indent="0">
              <a:lnSpc>
                <a:spcPts val="1765"/>
              </a:lnSpc>
              <a:spcBef>
                <a:spcPts val="1176"/>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1201226"/>
          </a:xfrm>
        </p:spPr>
        <p:txBody>
          <a:bodyPr lIns="0" tIns="0" rIns="0" bIns="0"/>
          <a:lstStyle>
            <a:lvl1pPr marL="0" indent="0">
              <a:lnSpc>
                <a:spcPts val="1765"/>
              </a:lnSpc>
              <a:spcBef>
                <a:spcPts val="1176"/>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565705604"/>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20"/>
            <a:ext cx="1693247" cy="2817053"/>
          </a:xfrm>
        </p:spPr>
        <p:txBody>
          <a:bodyPr lIns="0" tIns="0" rIns="0" bIns="0"/>
          <a:lstStyle>
            <a:lvl1pPr marL="0" indent="0">
              <a:lnSpc>
                <a:spcPts val="1765"/>
              </a:lnSpc>
              <a:spcBef>
                <a:spcPts val="882"/>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4"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8"/>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09616853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strike="noStrike">
                <a:solidFill>
                  <a:schemeClr val="tx1"/>
                </a:solidFill>
              </a:defRPr>
            </a:lvl1pPr>
          </a:lstStyle>
          <a:p>
            <a:r>
              <a:rPr lang="en-US"/>
              <a:t>Title Only: Click to add 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6399720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360477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703" spc="-49" baseline="0" dirty="0">
                <a:solidFill>
                  <a:schemeClr val="tx1"/>
                </a:solidFill>
              </a:defRPr>
            </a:lvl1pPr>
          </a:lstStyle>
          <a:p>
            <a:pPr marL="0" lvl="0">
              <a:lnSpc>
                <a:spcPts val="5488"/>
              </a:lnSpc>
            </a:pPr>
            <a:r>
              <a:rPr lang="en-US"/>
              <a:t>Section title</a:t>
            </a:r>
          </a:p>
        </p:txBody>
      </p:sp>
    </p:spTree>
    <p:extLst>
      <p:ext uri="{BB962C8B-B14F-4D97-AF65-F5344CB8AC3E}">
        <p14:creationId xmlns:p14="http://schemas.microsoft.com/office/powerpoint/2010/main" val="392405874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A8A467-97D1-4227-BA94-D57AAEE472A9}"/>
              </a:ext>
            </a:extLst>
          </p:cNvPr>
          <p:cNvPicPr>
            <a:picLocks noChangeAspect="1"/>
          </p:cNvPicPr>
          <p:nvPr userDrawn="1"/>
        </p:nvPicPr>
        <p:blipFill>
          <a:blip r:embed="rId2"/>
          <a:stretch>
            <a:fillRect/>
          </a:stretch>
        </p:blipFill>
        <p:spPr>
          <a:xfrm>
            <a:off x="2656" y="0"/>
            <a:ext cx="12186689" cy="6858000"/>
          </a:xfrm>
          <a:prstGeom prst="rect">
            <a:avLst/>
          </a:prstGeom>
        </p:spPr>
      </p:pic>
      <p:pic>
        <p:nvPicPr>
          <p:cNvPr id="5" name="Picture 4">
            <a:extLst>
              <a:ext uri="{FF2B5EF4-FFF2-40B4-BE49-F238E27FC236}">
                <a16:creationId xmlns:a16="http://schemas.microsoft.com/office/drawing/2014/main" id="{4C0A567E-3D24-42EC-B883-67825E7CCF2B}"/>
              </a:ext>
            </a:extLst>
          </p:cNvPr>
          <p:cNvPicPr>
            <a:picLocks noChangeAspect="1" noChangeArrowheads="1"/>
          </p:cNvPicPr>
          <p:nvPr userDrawn="1"/>
        </p:nvPicPr>
        <p:blipFill>
          <a:blip r:embed="rId3" cstate="email">
            <a:clrChange>
              <a:clrFrom>
                <a:srgbClr val="F3F3F3"/>
              </a:clrFrom>
              <a:clrTo>
                <a:srgbClr val="F3F3F3">
                  <a:alpha val="0"/>
                </a:srgbClr>
              </a:clrTo>
            </a:clrChange>
            <a:extLst>
              <a:ext uri="{28A0092B-C50C-407E-A947-70E740481C1C}">
                <a14:useLocalDpi xmlns:a14="http://schemas.microsoft.com/office/drawing/2010/main"/>
              </a:ext>
            </a:extLst>
          </a:blip>
          <a:srcRect/>
          <a:stretch>
            <a:fillRect/>
          </a:stretch>
        </p:blipFill>
        <p:spPr bwMode="auto">
          <a:xfrm>
            <a:off x="5893371" y="1567367"/>
            <a:ext cx="649732" cy="64973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1">
            <a:extLst>
              <a:ext uri="{FF2B5EF4-FFF2-40B4-BE49-F238E27FC236}">
                <a16:creationId xmlns:a16="http://schemas.microsoft.com/office/drawing/2014/main" id="{56C8EAEF-E8E7-4524-830E-A47A78C2B213}"/>
              </a:ext>
            </a:extLst>
          </p:cNvPr>
          <p:cNvSpPr>
            <a:spLocks noGrp="1"/>
          </p:cNvSpPr>
          <p:nvPr>
            <p:ph type="body" sz="quarter" idx="10" hasCustomPrompt="1"/>
          </p:nvPr>
        </p:nvSpPr>
        <p:spPr>
          <a:xfrm>
            <a:off x="681078" y="3497261"/>
            <a:ext cx="11074319" cy="553998"/>
          </a:xfrm>
        </p:spPr>
        <p:txBody>
          <a:bodyPr/>
          <a:lstStyle>
            <a:lvl1pPr algn="ctr">
              <a:defRPr>
                <a:solidFill>
                  <a:schemeClr val="bg1"/>
                </a:solidFill>
              </a:defRPr>
            </a:lvl1pPr>
          </a:lstStyle>
          <a:p>
            <a:pPr marL="65075" lvl="0" defTabSz="932293" fontAlgn="base">
              <a:spcAft>
                <a:spcPct val="0"/>
              </a:spcAft>
            </a:pPr>
            <a:r>
              <a:rPr lang="en-GB">
                <a:solidFill>
                  <a:schemeClr val="bg1"/>
                </a:solidFill>
                <a:latin typeface="Segoe UI Light" panose="020B0502040204020203" pitchFamily="34" charset="0"/>
                <a:cs typeface="Segoe UI Light" panose="020B0502040204020203" pitchFamily="34" charset="0"/>
              </a:rPr>
              <a:t>Section Description</a:t>
            </a:r>
            <a:endParaRPr lang="en-US">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7" name="Title 2">
            <a:extLst>
              <a:ext uri="{FF2B5EF4-FFF2-40B4-BE49-F238E27FC236}">
                <a16:creationId xmlns:a16="http://schemas.microsoft.com/office/drawing/2014/main" id="{1F7B5033-B4D1-455F-A29F-D1683DA88828}"/>
              </a:ext>
            </a:extLst>
          </p:cNvPr>
          <p:cNvSpPr>
            <a:spLocks noGrp="1"/>
          </p:cNvSpPr>
          <p:nvPr>
            <p:ph type="title" hasCustomPrompt="1"/>
          </p:nvPr>
        </p:nvSpPr>
        <p:spPr>
          <a:xfrm>
            <a:off x="579436" y="2369251"/>
            <a:ext cx="11277600" cy="754061"/>
          </a:xfrm>
        </p:spPr>
        <p:txBody>
          <a:bodyPr anchor="ctr"/>
          <a:lstStyle>
            <a:lvl1pPr algn="ctr">
              <a:defRPr>
                <a:solidFill>
                  <a:schemeClr val="bg1"/>
                </a:solidFill>
              </a:defRPr>
            </a:lvl1pPr>
          </a:lstStyle>
          <a:p>
            <a:r>
              <a:rPr lang="en-US">
                <a:solidFill>
                  <a:schemeClr val="bg1"/>
                </a:solidFill>
              </a:rPr>
              <a:t>Section Title</a:t>
            </a:r>
          </a:p>
        </p:txBody>
      </p:sp>
    </p:spTree>
    <p:extLst>
      <p:ext uri="{BB962C8B-B14F-4D97-AF65-F5344CB8AC3E}">
        <p14:creationId xmlns:p14="http://schemas.microsoft.com/office/powerpoint/2010/main" val="1539503608"/>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703" spc="-49" baseline="0" dirty="0">
                <a:solidFill>
                  <a:schemeClr val="tx1"/>
                </a:solidFill>
              </a:defRPr>
            </a:lvl1pPr>
          </a:lstStyle>
          <a:p>
            <a:pPr marL="0" lvl="0">
              <a:lnSpc>
                <a:spcPts val="5488"/>
              </a:lnSpc>
            </a:pPr>
            <a:r>
              <a:rPr lang="en-US"/>
              <a:t>Section title</a:t>
            </a:r>
          </a:p>
        </p:txBody>
      </p:sp>
    </p:spTree>
    <p:extLst>
      <p:ext uri="{BB962C8B-B14F-4D97-AF65-F5344CB8AC3E}">
        <p14:creationId xmlns:p14="http://schemas.microsoft.com/office/powerpoint/2010/main" val="2010938999"/>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703" spc="-49" baseline="0" dirty="0">
                <a:solidFill>
                  <a:schemeClr val="bg1"/>
                </a:solidFill>
              </a:defRPr>
            </a:lvl1pPr>
          </a:lstStyle>
          <a:p>
            <a:pPr marL="0" lvl="0">
              <a:lnSpc>
                <a:spcPts val="5488"/>
              </a:lnSpc>
            </a:pPr>
            <a:r>
              <a:rPr lang="en-US"/>
              <a:t>Section title</a:t>
            </a:r>
          </a:p>
        </p:txBody>
      </p:sp>
    </p:spTree>
    <p:extLst>
      <p:ext uri="{BB962C8B-B14F-4D97-AF65-F5344CB8AC3E}">
        <p14:creationId xmlns:p14="http://schemas.microsoft.com/office/powerpoint/2010/main" val="1380769115"/>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p:spPr>
        <p:txBody>
          <a:bodyPr lIns="0" tIns="0" rIns="0" bIns="0"/>
          <a:lstStyle>
            <a:lvl1pPr marL="280013" indent="-280013">
              <a:lnSpc>
                <a:spcPts val="1765"/>
              </a:lnSpc>
              <a:spcBef>
                <a:spcPts val="0"/>
              </a:spcBef>
              <a:buFont typeface="Arial" panose="020B0604020202020204" pitchFamily="34" charset="0"/>
              <a:buChar char="•"/>
              <a:defRPr sz="1370" b="0" i="0" spc="0">
                <a:solidFill>
                  <a:schemeClr val="tx1"/>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21011"/>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302483059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21011"/>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7"/>
            <a:ext cx="1693247" cy="3034229"/>
          </a:xfrm>
        </p:spPr>
        <p:txBody>
          <a:bodyPr lIns="0" tIns="0" rIns="0" bIns="0"/>
          <a:lstStyle>
            <a:lvl1pPr marL="0" indent="0">
              <a:lnSpc>
                <a:spcPts val="1765"/>
              </a:lnSpc>
              <a:spcBef>
                <a:spcPts val="882"/>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7"/>
            <a:ext cx="1693247" cy="3034229"/>
          </a:xfrm>
        </p:spPr>
        <p:txBody>
          <a:bodyPr lIns="0" tIns="0" rIns="0" bIns="0"/>
          <a:lstStyle>
            <a:lvl1pPr marL="0" indent="0">
              <a:lnSpc>
                <a:spcPts val="1765"/>
              </a:lnSpc>
              <a:spcBef>
                <a:spcPts val="882"/>
              </a:spcBef>
              <a:buNone/>
              <a:defRPr lang="en-US" sz="1370" b="0" kern="1200" spc="0" baseline="0" dirty="0">
                <a:solidFill>
                  <a:srgbClr val="742774"/>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26299684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bg1"/>
                </a:solidFill>
              </a:defRPr>
            </a:lvl1pPr>
          </a:lstStyle>
          <a:p>
            <a:pPr marL="0" lvl="0">
              <a:lnSpc>
                <a:spcPts val="5489"/>
              </a:lnSpc>
            </a:pPr>
            <a:r>
              <a:rPr lang="en-US"/>
              <a:t>Section title</a:t>
            </a:r>
          </a:p>
        </p:txBody>
      </p:sp>
    </p:spTree>
    <p:extLst>
      <p:ext uri="{BB962C8B-B14F-4D97-AF65-F5344CB8AC3E}">
        <p14:creationId xmlns:p14="http://schemas.microsoft.com/office/powerpoint/2010/main" val="355615605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6"/>
            <a:ext cx="7678751" cy="54675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76478207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p:spPr>
        <p:txBody>
          <a:bodyPr lIns="0" tIns="0" rIns="0" bIns="0"/>
          <a:lstStyle>
            <a:lvl1pPr marL="0" indent="0">
              <a:lnSpc>
                <a:spcPts val="1174"/>
              </a:lnSpc>
              <a:spcBef>
                <a:spcPts val="882"/>
              </a:spcBef>
              <a:buFont typeface="Arial" panose="020B0604020202020204" pitchFamily="34" charset="0"/>
              <a:buNone/>
              <a:defRPr sz="980" b="0" i="0" spc="0">
                <a:solidFill>
                  <a:schemeClr val="tx1"/>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98871451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BBD16CE1-A41F-43DF-99E4-2D54DBC1DFBA}"/>
              </a:ext>
            </a:extLst>
          </p:cNvPr>
          <p:cNvSpPr>
            <a:spLocks noGrp="1"/>
          </p:cNvSpPr>
          <p:nvPr>
            <p:ph type="ftr" sz="quarter" idx="10"/>
          </p:nvPr>
        </p:nvSpPr>
        <p:spPr/>
        <p:txBody>
          <a:bodyPr/>
          <a:lstStyle/>
          <a:p>
            <a:r>
              <a:rPr lang="en-US">
                <a:solidFill>
                  <a:schemeClr val="bg1">
                    <a:lumMod val="65000"/>
                  </a:schemeClr>
                </a:solidFill>
              </a:rPr>
              <a:t>© Microsoft Corporation                                                                                  								                      Power Platform </a:t>
            </a:r>
          </a:p>
        </p:txBody>
      </p:sp>
      <p:sp>
        <p:nvSpPr>
          <p:cNvPr id="4" name="Text Placeholder 4">
            <a:extLst>
              <a:ext uri="{FF2B5EF4-FFF2-40B4-BE49-F238E27FC236}">
                <a16:creationId xmlns:a16="http://schemas.microsoft.com/office/drawing/2014/main" id="{32C2568C-A901-455A-9891-A59F9ACAE7C7}"/>
              </a:ext>
            </a:extLst>
          </p:cNvPr>
          <p:cNvSpPr>
            <a:spLocks noGrp="1"/>
          </p:cNvSpPr>
          <p:nvPr>
            <p:ph type="body" sz="quarter" idx="32" hasCustomPrompt="1"/>
          </p:nvPr>
        </p:nvSpPr>
        <p:spPr>
          <a:xfrm>
            <a:off x="110515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 name="Content Placeholder 15">
            <a:extLst>
              <a:ext uri="{FF2B5EF4-FFF2-40B4-BE49-F238E27FC236}">
                <a16:creationId xmlns:a16="http://schemas.microsoft.com/office/drawing/2014/main" id="{AF7664AC-5A49-4869-849F-33D4BE26E705}"/>
              </a:ext>
            </a:extLst>
          </p:cNvPr>
          <p:cNvSpPr>
            <a:spLocks noGrp="1"/>
          </p:cNvSpPr>
          <p:nvPr>
            <p:ph sz="quarter" idx="39" hasCustomPrompt="1"/>
          </p:nvPr>
        </p:nvSpPr>
        <p:spPr>
          <a:xfrm>
            <a:off x="8417802"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 name="Content Placeholder 15">
            <a:extLst>
              <a:ext uri="{FF2B5EF4-FFF2-40B4-BE49-F238E27FC236}">
                <a16:creationId xmlns:a16="http://schemas.microsoft.com/office/drawing/2014/main" id="{9A375501-8BAE-4474-B7C5-8FF87CC6C407}"/>
              </a:ext>
            </a:extLst>
          </p:cNvPr>
          <p:cNvSpPr>
            <a:spLocks noGrp="1"/>
          </p:cNvSpPr>
          <p:nvPr>
            <p:ph sz="quarter" idx="40" hasCustomPrompt="1"/>
          </p:nvPr>
        </p:nvSpPr>
        <p:spPr>
          <a:xfrm>
            <a:off x="4768073"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0F8797E4-AE56-4C4B-B866-C8A495E3FDC3}"/>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Title Placeholder 1">
            <a:extLst>
              <a:ext uri="{FF2B5EF4-FFF2-40B4-BE49-F238E27FC236}">
                <a16:creationId xmlns:a16="http://schemas.microsoft.com/office/drawing/2014/main" id="{A4F11A96-3D55-4C13-9D4F-67C291E7D7DB}"/>
              </a:ext>
            </a:extLst>
          </p:cNvPr>
          <p:cNvSpPr>
            <a:spLocks noGrp="1"/>
          </p:cNvSpPr>
          <p:nvPr>
            <p:ph type="title" hasCustomPrompt="1"/>
          </p:nvPr>
        </p:nvSpPr>
        <p:spPr>
          <a:xfrm>
            <a:off x="568047" y="683498"/>
            <a:ext cx="11055906" cy="739343"/>
          </a:xfrm>
          <a:prstGeom prst="rect">
            <a:avLst/>
          </a:prstGeom>
        </p:spPr>
        <p:txBody>
          <a:bodyPr vert="horz" wrap="square" lIns="0" tIns="164592" rIns="0" bIns="0" rtlCol="0" anchor="t">
            <a:noAutofit/>
          </a:bodyPr>
          <a:lstStyle>
            <a:lvl1pPr algn="ctr">
              <a:lnSpc>
                <a:spcPct val="100000"/>
              </a:lnSpc>
              <a:defRPr sz="3136"/>
            </a:lvl1pPr>
          </a:lstStyle>
          <a:p>
            <a:r>
              <a:rPr lang="en-US"/>
              <a:t>Graphic layout: two columns graphic and text</a:t>
            </a:r>
          </a:p>
        </p:txBody>
      </p:sp>
      <p:sp>
        <p:nvSpPr>
          <p:cNvPr id="9" name="Text Placeholder 3">
            <a:extLst>
              <a:ext uri="{FF2B5EF4-FFF2-40B4-BE49-F238E27FC236}">
                <a16:creationId xmlns:a16="http://schemas.microsoft.com/office/drawing/2014/main" id="{1ECDB96C-4FD3-48BC-A769-B5B1741F0C2D}"/>
              </a:ext>
            </a:extLst>
          </p:cNvPr>
          <p:cNvSpPr>
            <a:spLocks noGrp="1"/>
          </p:cNvSpPr>
          <p:nvPr>
            <p:ph type="body" sz="quarter" idx="12" hasCustomPrompt="1"/>
          </p:nvPr>
        </p:nvSpPr>
        <p:spPr>
          <a:xfrm>
            <a:off x="580638" y="1355683"/>
            <a:ext cx="11046887" cy="301770"/>
          </a:xfrm>
        </p:spPr>
        <p:txBody>
          <a:bodyPr wrap="square" lIns="0" tIns="0" rIns="0" bIns="0">
            <a:spAutoFit/>
          </a:bodyPr>
          <a:lstStyle>
            <a:lvl1pPr marL="0" indent="0" algn="ctr">
              <a:lnSpc>
                <a:spcPct val="100000"/>
              </a:lnSpc>
              <a:spcBef>
                <a:spcPts val="0"/>
              </a:spcBef>
              <a:spcAft>
                <a:spcPts val="1273"/>
              </a:spcAft>
              <a:buNone/>
              <a:defRPr sz="1961" b="0" i="0">
                <a:solidFill>
                  <a:srgbClr val="000000"/>
                </a:solidFill>
                <a:latin typeface="Segoe UI Light" panose="020B0502040204020203" pitchFamily="34" charset="0"/>
                <a:cs typeface="Segoe UI Light" panose="020B0502040204020203" pitchFamily="34" charset="0"/>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0pt</a:t>
            </a:r>
          </a:p>
        </p:txBody>
      </p:sp>
      <p:sp>
        <p:nvSpPr>
          <p:cNvPr id="10" name="Text Placeholder 4">
            <a:extLst>
              <a:ext uri="{FF2B5EF4-FFF2-40B4-BE49-F238E27FC236}">
                <a16:creationId xmlns:a16="http://schemas.microsoft.com/office/drawing/2014/main" id="{AB6E909F-ED42-46A4-8FD9-BF923A9EBB2A}"/>
              </a:ext>
            </a:extLst>
          </p:cNvPr>
          <p:cNvSpPr>
            <a:spLocks noGrp="1"/>
          </p:cNvSpPr>
          <p:nvPr>
            <p:ph type="body" sz="quarter" idx="42" hasCustomPrompt="1"/>
          </p:nvPr>
        </p:nvSpPr>
        <p:spPr>
          <a:xfrm>
            <a:off x="4749635"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4C3A4301-7514-40BC-9C21-04FE2ACB705E}"/>
              </a:ext>
            </a:extLst>
          </p:cNvPr>
          <p:cNvSpPr>
            <a:spLocks noGrp="1"/>
          </p:cNvSpPr>
          <p:nvPr>
            <p:ph type="body" sz="quarter" idx="43" hasCustomPrompt="1"/>
          </p:nvPr>
        </p:nvSpPr>
        <p:spPr>
          <a:xfrm>
            <a:off x="8408812"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b="0" i="0">
                <a:solidFill>
                  <a:srgbClr val="000000"/>
                </a:solidFill>
                <a:latin typeface="Segoe UI Light" panose="020B0502040204020203" pitchFamily="34" charset="0"/>
                <a:cs typeface="Segoe UI Light" panose="020B0502040204020203" pitchFamily="34" charset="0"/>
              </a:defRPr>
            </a:lvl2pPr>
            <a:lvl3pPr marL="448107" indent="0">
              <a:buNone/>
              <a:defRPr/>
            </a:lvl3pPr>
            <a:lvl4pPr marL="672161" indent="0">
              <a:buNone/>
              <a:defRPr/>
            </a:lvl4pPr>
            <a:lvl5pPr marL="89621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27654487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67695092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EE0DC86-1CBE-4943-892D-8177713C005D}"/>
              </a:ext>
            </a:extLst>
          </p:cNvPr>
          <p:cNvSpPr>
            <a:spLocks noGrp="1"/>
          </p:cNvSpPr>
          <p:nvPr>
            <p:ph type="title" hasCustomPrompt="1"/>
          </p:nvPr>
        </p:nvSpPr>
        <p:spPr>
          <a:xfrm>
            <a:off x="585216" y="3033223"/>
            <a:ext cx="9144000" cy="498598"/>
          </a:xfrm>
          <a:noFill/>
        </p:spPr>
        <p:txBody>
          <a:bodyPr lIns="0" tIns="0" rIns="0" bIns="0" anchor="b" anchorCtr="0">
            <a:spAutoFit/>
          </a:bodyPr>
          <a:lstStyle>
            <a:lvl1pPr algn="l" defTabSz="932026"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Demo title</a:t>
            </a:r>
          </a:p>
        </p:txBody>
      </p:sp>
      <p:sp>
        <p:nvSpPr>
          <p:cNvPr id="4" name="Text Placeholder 4">
            <a:extLst>
              <a:ext uri="{FF2B5EF4-FFF2-40B4-BE49-F238E27FC236}">
                <a16:creationId xmlns:a16="http://schemas.microsoft.com/office/drawing/2014/main" id="{A825A374-DA53-4635-8BF4-CD77A3DE7AFE}"/>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417369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8E308C57-5B6E-4E33-BF3F-BAFC1E88A2B2}"/>
              </a:ext>
            </a:extLst>
          </p:cNvPr>
          <p:cNvSpPr>
            <a:spLocks noGrp="1"/>
          </p:cNvSpPr>
          <p:nvPr>
            <p:ph type="title" hasCustomPrompt="1"/>
          </p:nvPr>
        </p:nvSpPr>
        <p:spPr>
          <a:xfrm>
            <a:off x="585216" y="3035808"/>
            <a:ext cx="9144000" cy="498598"/>
          </a:xfrm>
          <a:noFill/>
        </p:spPr>
        <p:txBody>
          <a:bodyPr lIns="0" tIns="0" rIns="0" bIns="0" anchor="b" anchorCtr="0">
            <a:spAutoFit/>
          </a:bodyPr>
          <a:lstStyle>
            <a:lvl1pPr algn="l" defTabSz="932026"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5288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272"/>
              </a:spcAft>
              <a:defRPr sz="2549" spc="-49" baseline="0">
                <a:solidFill>
                  <a:schemeClr val="tx1"/>
                </a:solidFill>
              </a:defRPr>
            </a:lvl1pPr>
          </a:lstStyle>
          <a:p>
            <a:r>
              <a:rPr lang="en-US"/>
              <a:t>Thank you.</a:t>
            </a:r>
          </a:p>
        </p:txBody>
      </p:sp>
      <p:pic>
        <p:nvPicPr>
          <p:cNvPr id="6" name="Picture 2">
            <a:extLst>
              <a:ext uri="{FF2B5EF4-FFF2-40B4-BE49-F238E27FC236}">
                <a16:creationId xmlns:a16="http://schemas.microsoft.com/office/drawing/2014/main" id="{194C8120-35E5-4A35-8E18-541233CB71E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3" y="153681"/>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8902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2">
            <a:extLst>
              <a:ext uri="{FF2B5EF4-FFF2-40B4-BE49-F238E27FC236}">
                <a16:creationId xmlns:a16="http://schemas.microsoft.com/office/drawing/2014/main" id="{D3DDBF11-2425-4652-A0D1-B0572244414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3" y="147366"/>
            <a:ext cx="1938045" cy="38021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E1E57DD7-96CC-48D7-A912-62B3CF36EB5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733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descr="A close up of a logo&#10;&#10;Description automatically generated">
            <a:extLst>
              <a:ext uri="{FF2B5EF4-FFF2-40B4-BE49-F238E27FC236}">
                <a16:creationId xmlns:a16="http://schemas.microsoft.com/office/drawing/2014/main" id="{946B0343-0C1F-4A28-B429-D67A62CA3C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4135108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593216"/>
            <a:ext cx="9630389" cy="1793104"/>
          </a:xfrm>
          <a:noFill/>
        </p:spPr>
        <p:txBody>
          <a:bodyPr lIns="0" tIns="0" rIns="0" bIns="182880" anchor="b" anchorCtr="0"/>
          <a:lstStyle>
            <a:lvl1pPr>
              <a:defRPr sz="3921" strike="noStrike" spc="-49" baseline="0">
                <a:solidFill>
                  <a:schemeClr val="bg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410882"/>
            <a:ext cx="9602819" cy="745370"/>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8" name="Hexagon 7">
            <a:extLst>
              <a:ext uri="{FF2B5EF4-FFF2-40B4-BE49-F238E27FC236}">
                <a16:creationId xmlns:a16="http://schemas.microsoft.com/office/drawing/2014/main" id="{4D406F93-D5AB-4302-94F4-D5B4654F5F35}"/>
              </a:ext>
            </a:extLst>
          </p:cNvPr>
          <p:cNvSpPr/>
          <p:nvPr userDrawn="1"/>
        </p:nvSpPr>
        <p:spPr bwMode="auto">
          <a:xfrm>
            <a:off x="7588790" y="1657639"/>
            <a:ext cx="4603210" cy="5059190"/>
          </a:xfrm>
          <a:custGeom>
            <a:avLst/>
            <a:gdLst>
              <a:gd name="connsiteX0" fmla="*/ 0 w 5985491"/>
              <a:gd name="connsiteY0" fmla="*/ 2579954 h 5159907"/>
              <a:gd name="connsiteX1" fmla="*/ 1289977 w 5985491"/>
              <a:gd name="connsiteY1" fmla="*/ 1 h 5159907"/>
              <a:gd name="connsiteX2" fmla="*/ 4695514 w 5985491"/>
              <a:gd name="connsiteY2" fmla="*/ 1 h 5159907"/>
              <a:gd name="connsiteX3" fmla="*/ 5985491 w 5985491"/>
              <a:gd name="connsiteY3" fmla="*/ 2579954 h 5159907"/>
              <a:gd name="connsiteX4" fmla="*/ 4695514 w 5985491"/>
              <a:gd name="connsiteY4" fmla="*/ 5159906 h 5159907"/>
              <a:gd name="connsiteX5" fmla="*/ 1289977 w 5985491"/>
              <a:gd name="connsiteY5" fmla="*/ 5159906 h 5159907"/>
              <a:gd name="connsiteX6" fmla="*/ 0 w 5985491"/>
              <a:gd name="connsiteY6" fmla="*/ 2579954 h 5159907"/>
              <a:gd name="connsiteX0" fmla="*/ 0 w 4695514"/>
              <a:gd name="connsiteY0" fmla="*/ 2579953 h 5159905"/>
              <a:gd name="connsiteX1" fmla="*/ 1289977 w 4695514"/>
              <a:gd name="connsiteY1" fmla="*/ 0 h 5159905"/>
              <a:gd name="connsiteX2" fmla="*/ 4695514 w 4695514"/>
              <a:gd name="connsiteY2" fmla="*/ 0 h 5159905"/>
              <a:gd name="connsiteX3" fmla="*/ 4695514 w 4695514"/>
              <a:gd name="connsiteY3" fmla="*/ 5159905 h 5159905"/>
              <a:gd name="connsiteX4" fmla="*/ 1289977 w 4695514"/>
              <a:gd name="connsiteY4" fmla="*/ 5159905 h 5159905"/>
              <a:gd name="connsiteX5" fmla="*/ 0 w 4695514"/>
              <a:gd name="connsiteY5" fmla="*/ 2579953 h 515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5514" h="5159905">
                <a:moveTo>
                  <a:pt x="0" y="2579953"/>
                </a:moveTo>
                <a:lnTo>
                  <a:pt x="1289977" y="0"/>
                </a:lnTo>
                <a:lnTo>
                  <a:pt x="4695514" y="0"/>
                </a:lnTo>
                <a:lnTo>
                  <a:pt x="4695514" y="5159905"/>
                </a:lnTo>
                <a:lnTo>
                  <a:pt x="1289977" y="5159905"/>
                </a:lnTo>
                <a:lnTo>
                  <a:pt x="0" y="2579953"/>
                </a:lnTo>
                <a:close/>
              </a:path>
            </a:pathLst>
          </a:custGeom>
          <a:solidFill>
            <a:schemeClr val="bg1">
              <a:alpha val="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a:extLst>
              <a:ext uri="{FF2B5EF4-FFF2-40B4-BE49-F238E27FC236}">
                <a16:creationId xmlns:a16="http://schemas.microsoft.com/office/drawing/2014/main" id="{72F7356A-A1D0-486F-8874-61ED63F92C4C}"/>
              </a:ext>
            </a:extLst>
          </p:cNvPr>
          <p:cNvPicPr>
            <a:picLocks noChangeAspect="1"/>
          </p:cNvPicPr>
          <p:nvPr userDrawn="1"/>
        </p:nvPicPr>
        <p:blipFill rotWithShape="1">
          <a:blip r:embed="rId2">
            <a:alphaModFix/>
          </a:blip>
          <a:srcRect l="22790" r="26113"/>
          <a:stretch/>
        </p:blipFill>
        <p:spPr>
          <a:xfrm>
            <a:off x="6932637" y="0"/>
            <a:ext cx="5259364" cy="6858001"/>
          </a:xfrm>
          <a:custGeom>
            <a:avLst/>
            <a:gdLst>
              <a:gd name="connsiteX0" fmla="*/ 1152093 w 5364825"/>
              <a:gd name="connsiteY0" fmla="*/ 0 h 6994526"/>
              <a:gd name="connsiteX1" fmla="*/ 5364825 w 5364825"/>
              <a:gd name="connsiteY1" fmla="*/ 0 h 6994526"/>
              <a:gd name="connsiteX2" fmla="*/ 5364825 w 5364825"/>
              <a:gd name="connsiteY2" fmla="*/ 6994526 h 6994526"/>
              <a:gd name="connsiteX3" fmla="*/ 2345172 w 5364825"/>
              <a:gd name="connsiteY3" fmla="*/ 6994526 h 6994526"/>
              <a:gd name="connsiteX4" fmla="*/ 0 w 5364825"/>
              <a:gd name="connsiteY4" fmla="*/ 2304185 h 6994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4825" h="6994526">
                <a:moveTo>
                  <a:pt x="1152093" y="0"/>
                </a:moveTo>
                <a:lnTo>
                  <a:pt x="5364825" y="0"/>
                </a:lnTo>
                <a:lnTo>
                  <a:pt x="5364825" y="6994526"/>
                </a:lnTo>
                <a:lnTo>
                  <a:pt x="2345172" y="6994526"/>
                </a:lnTo>
                <a:lnTo>
                  <a:pt x="0" y="2304185"/>
                </a:lnTo>
                <a:close/>
              </a:path>
            </a:pathLst>
          </a:custGeom>
          <a:ln w="73025">
            <a:solidFill>
              <a:schemeClr val="accent2">
                <a:lumMod val="75000"/>
              </a:schemeClr>
            </a:solidFill>
          </a:ln>
        </p:spPr>
      </p:pic>
      <p:sp>
        <p:nvSpPr>
          <p:cNvPr id="25" name="Hexagon 24">
            <a:extLst>
              <a:ext uri="{FF2B5EF4-FFF2-40B4-BE49-F238E27FC236}">
                <a16:creationId xmlns:a16="http://schemas.microsoft.com/office/drawing/2014/main" id="{D91DF740-2287-438B-8638-AC9506FC89F3}"/>
              </a:ext>
            </a:extLst>
          </p:cNvPr>
          <p:cNvSpPr/>
          <p:nvPr userDrawn="1"/>
        </p:nvSpPr>
        <p:spPr bwMode="auto">
          <a:xfrm flipH="1">
            <a:off x="193717" y="5469796"/>
            <a:ext cx="1123467" cy="968644"/>
          </a:xfrm>
          <a:prstGeom prst="hexagon">
            <a:avLst/>
          </a:prstGeom>
          <a:solidFill>
            <a:schemeClr val="accent3">
              <a:lumMod val="7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6" name="Hexagon 25">
            <a:extLst>
              <a:ext uri="{FF2B5EF4-FFF2-40B4-BE49-F238E27FC236}">
                <a16:creationId xmlns:a16="http://schemas.microsoft.com/office/drawing/2014/main" id="{A3817EBB-15E7-412A-8B62-D53F0C41C703}"/>
              </a:ext>
            </a:extLst>
          </p:cNvPr>
          <p:cNvSpPr/>
          <p:nvPr userDrawn="1"/>
        </p:nvSpPr>
        <p:spPr bwMode="auto">
          <a:xfrm flipH="1">
            <a:off x="1229969" y="5469796"/>
            <a:ext cx="386928" cy="333606"/>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Shape 27">
            <a:extLst>
              <a:ext uri="{FF2B5EF4-FFF2-40B4-BE49-F238E27FC236}">
                <a16:creationId xmlns:a16="http://schemas.microsoft.com/office/drawing/2014/main" id="{3589F91B-35EF-4C87-BFA8-136D67F79B03}"/>
              </a:ext>
            </a:extLst>
          </p:cNvPr>
          <p:cNvSpPr/>
          <p:nvPr userDrawn="1"/>
        </p:nvSpPr>
        <p:spPr bwMode="auto">
          <a:xfrm flipH="1">
            <a:off x="0" y="5297063"/>
            <a:ext cx="1234653" cy="1560937"/>
          </a:xfrm>
          <a:custGeom>
            <a:avLst/>
            <a:gdLst>
              <a:gd name="connsiteX0" fmla="*/ 1259410 w 1259410"/>
              <a:gd name="connsiteY0" fmla="*/ 0 h 1592011"/>
              <a:gd name="connsiteX1" fmla="*/ 566256 w 1259410"/>
              <a:gd name="connsiteY1" fmla="*/ 0 h 1592011"/>
              <a:gd name="connsiteX2" fmla="*/ 0 w 1259410"/>
              <a:gd name="connsiteY2" fmla="*/ 1132511 h 1592011"/>
              <a:gd name="connsiteX3" fmla="*/ 229750 w 1259410"/>
              <a:gd name="connsiteY3" fmla="*/ 1592011 h 1592011"/>
              <a:gd name="connsiteX4" fmla="*/ 1259410 w 1259410"/>
              <a:gd name="connsiteY4" fmla="*/ 1592011 h 159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9410" h="1592011">
                <a:moveTo>
                  <a:pt x="1259410" y="0"/>
                </a:moveTo>
                <a:lnTo>
                  <a:pt x="566256" y="0"/>
                </a:lnTo>
                <a:lnTo>
                  <a:pt x="0" y="1132511"/>
                </a:lnTo>
                <a:lnTo>
                  <a:pt x="229750" y="1592011"/>
                </a:lnTo>
                <a:lnTo>
                  <a:pt x="1259410" y="1592011"/>
                </a:lnTo>
                <a:close/>
              </a:path>
            </a:pathLst>
          </a:cu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Shape 21">
            <a:extLst>
              <a:ext uri="{FF2B5EF4-FFF2-40B4-BE49-F238E27FC236}">
                <a16:creationId xmlns:a16="http://schemas.microsoft.com/office/drawing/2014/main" id="{437A968C-570A-4E87-A329-4B1BD7AE2E82}"/>
              </a:ext>
            </a:extLst>
          </p:cNvPr>
          <p:cNvSpPr/>
          <p:nvPr userDrawn="1"/>
        </p:nvSpPr>
        <p:spPr bwMode="auto">
          <a:xfrm flipH="1">
            <a:off x="6823926" y="2"/>
            <a:ext cx="5368074" cy="6857996"/>
          </a:xfrm>
          <a:custGeom>
            <a:avLst/>
            <a:gdLst>
              <a:gd name="connsiteX0" fmla="*/ 4877833 w 5475715"/>
              <a:gd name="connsiteY0" fmla="*/ 0 h 6994521"/>
              <a:gd name="connsiteX1" fmla="*/ 0 w 5475715"/>
              <a:gd name="connsiteY1" fmla="*/ 0 h 6994521"/>
              <a:gd name="connsiteX2" fmla="*/ 0 w 5475715"/>
              <a:gd name="connsiteY2" fmla="*/ 6994521 h 6994521"/>
              <a:gd name="connsiteX3" fmla="*/ 2576335 w 5475715"/>
              <a:gd name="connsiteY3" fmla="*/ 6994521 h 6994521"/>
              <a:gd name="connsiteX4" fmla="*/ 5475715 w 5475715"/>
              <a:gd name="connsiteY4" fmla="*/ 1195763 h 699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5715" h="6994521">
                <a:moveTo>
                  <a:pt x="4877833" y="0"/>
                </a:moveTo>
                <a:lnTo>
                  <a:pt x="0" y="0"/>
                </a:lnTo>
                <a:lnTo>
                  <a:pt x="0" y="6994521"/>
                </a:lnTo>
                <a:lnTo>
                  <a:pt x="2576335" y="6994521"/>
                </a:lnTo>
                <a:lnTo>
                  <a:pt x="5475715" y="1195763"/>
                </a:lnTo>
                <a:close/>
              </a:path>
            </a:pathLst>
          </a:custGeom>
          <a:noFill/>
          <a:ln>
            <a:solidFill>
              <a:schemeClr val="accent1">
                <a:lumMod val="10000"/>
                <a:alpha val="2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descr="A close up of a logo&#10;&#10;Description automatically generated">
            <a:extLst>
              <a:ext uri="{FF2B5EF4-FFF2-40B4-BE49-F238E27FC236}">
                <a16:creationId xmlns:a16="http://schemas.microsoft.com/office/drawing/2014/main" id="{70210425-32C6-4F53-BBBE-A41253FE976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16641389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34876375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_Title Slide 1">
    <p:bg>
      <p:bgPr>
        <a:solidFill>
          <a:schemeClr val="bg2"/>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7D0011F-D9C8-4890-B3F8-F6FA45BD5440}"/>
              </a:ext>
            </a:extLst>
          </p:cNvPr>
          <p:cNvSpPr/>
          <p:nvPr userDrawn="1"/>
        </p:nvSpPr>
        <p:spPr bwMode="auto">
          <a:xfrm>
            <a:off x="6591927" y="1010700"/>
            <a:ext cx="5600074" cy="5847300"/>
          </a:xfrm>
          <a:custGeom>
            <a:avLst/>
            <a:gdLst>
              <a:gd name="connsiteX0" fmla="*/ 3001586 w 5712367"/>
              <a:gd name="connsiteY0" fmla="*/ 0 h 5963705"/>
              <a:gd name="connsiteX1" fmla="*/ 5712367 w 5712367"/>
              <a:gd name="connsiteY1" fmla="*/ 0 h 5963705"/>
              <a:gd name="connsiteX2" fmla="*/ 5712367 w 5712367"/>
              <a:gd name="connsiteY2" fmla="*/ 5963705 h 5963705"/>
              <a:gd name="connsiteX3" fmla="*/ 0 w 5712367"/>
              <a:gd name="connsiteY3" fmla="*/ 5963705 h 5963705"/>
              <a:gd name="connsiteX4" fmla="*/ 11898 w 5712367"/>
              <a:gd name="connsiteY4" fmla="*/ 5938954 h 5963705"/>
              <a:gd name="connsiteX5" fmla="*/ 2727106 w 5712367"/>
              <a:gd name="connsiteY5" fmla="*/ 569692 h 596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2367" h="5963705">
                <a:moveTo>
                  <a:pt x="3001586" y="0"/>
                </a:moveTo>
                <a:lnTo>
                  <a:pt x="5712367" y="0"/>
                </a:lnTo>
                <a:lnTo>
                  <a:pt x="5712367" y="5963705"/>
                </a:lnTo>
                <a:lnTo>
                  <a:pt x="0" y="5963705"/>
                </a:lnTo>
                <a:lnTo>
                  <a:pt x="11898" y="5938954"/>
                </a:lnTo>
                <a:cubicBezTo>
                  <a:pt x="884975" y="4151620"/>
                  <a:pt x="1850339" y="2357306"/>
                  <a:pt x="2727106" y="569692"/>
                </a:cubicBezTo>
                <a:close/>
              </a:path>
            </a:pathLst>
          </a:cu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5DAE8F0B-C060-452B-B519-248F35F7AF34}"/>
              </a:ext>
            </a:extLst>
          </p:cNvPr>
          <p:cNvSpPr/>
          <p:nvPr userDrawn="1"/>
        </p:nvSpPr>
        <p:spPr bwMode="auto">
          <a:xfrm>
            <a:off x="6869391" y="770839"/>
            <a:ext cx="5322607" cy="6087162"/>
          </a:xfrm>
          <a:custGeom>
            <a:avLst/>
            <a:gdLst>
              <a:gd name="connsiteX0" fmla="*/ 3104171 w 5429336"/>
              <a:gd name="connsiteY0" fmla="*/ 0 h 6208342"/>
              <a:gd name="connsiteX1" fmla="*/ 5429336 w 5429336"/>
              <a:gd name="connsiteY1" fmla="*/ 0 h 6208342"/>
              <a:gd name="connsiteX2" fmla="*/ 5429336 w 5429336"/>
              <a:gd name="connsiteY2" fmla="*/ 6208342 h 6208342"/>
              <a:gd name="connsiteX3" fmla="*/ 0 w 5429336"/>
              <a:gd name="connsiteY3" fmla="*/ 6208342 h 6208342"/>
            </a:gdLst>
            <a:ahLst/>
            <a:cxnLst>
              <a:cxn ang="0">
                <a:pos x="connsiteX0" y="connsiteY0"/>
              </a:cxn>
              <a:cxn ang="0">
                <a:pos x="connsiteX1" y="connsiteY1"/>
              </a:cxn>
              <a:cxn ang="0">
                <a:pos x="connsiteX2" y="connsiteY2"/>
              </a:cxn>
              <a:cxn ang="0">
                <a:pos x="connsiteX3" y="connsiteY3"/>
              </a:cxn>
            </a:cxnLst>
            <a:rect l="l" t="t" r="r" b="b"/>
            <a:pathLst>
              <a:path w="5429336" h="6208342">
                <a:moveTo>
                  <a:pt x="3104171" y="0"/>
                </a:moveTo>
                <a:lnTo>
                  <a:pt x="5429336" y="0"/>
                </a:lnTo>
                <a:lnTo>
                  <a:pt x="5429336" y="6208342"/>
                </a:lnTo>
                <a:lnTo>
                  <a:pt x="0" y="6208342"/>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75DA8423-168F-4468-A111-F5D5CFAB61C7}"/>
              </a:ext>
            </a:extLst>
          </p:cNvPr>
          <p:cNvSpPr/>
          <p:nvPr userDrawn="1"/>
        </p:nvSpPr>
        <p:spPr bwMode="auto">
          <a:xfrm>
            <a:off x="8361454" y="2571359"/>
            <a:ext cx="1413986" cy="1219126"/>
          </a:xfrm>
          <a:prstGeom prst="hexagon">
            <a:avLst/>
          </a:prstGeom>
          <a:solidFill>
            <a:srgbClr val="3434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44930C04-939A-4BBA-91B2-B3783EB93BFD}"/>
              </a:ext>
            </a:extLst>
          </p:cNvPr>
          <p:cNvGrpSpPr/>
          <p:nvPr userDrawn="1"/>
        </p:nvGrpSpPr>
        <p:grpSpPr>
          <a:xfrm>
            <a:off x="6914781" y="965576"/>
            <a:ext cx="2958022" cy="2220813"/>
            <a:chOff x="6280198" y="439106"/>
            <a:chExt cx="3744276" cy="2810716"/>
          </a:xfrm>
        </p:grpSpPr>
        <p:sp>
          <p:nvSpPr>
            <p:cNvPr id="13" name="Hexagon 12">
              <a:extLst>
                <a:ext uri="{FF2B5EF4-FFF2-40B4-BE49-F238E27FC236}">
                  <a16:creationId xmlns:a16="http://schemas.microsoft.com/office/drawing/2014/main" id="{23FA493B-95EF-482D-BC56-0B67271C08BD}"/>
                </a:ext>
              </a:extLst>
            </p:cNvPr>
            <p:cNvSpPr/>
            <p:nvPr userDrawn="1"/>
          </p:nvSpPr>
          <p:spPr bwMode="auto">
            <a:xfrm>
              <a:off x="6659577" y="657724"/>
              <a:ext cx="1422089" cy="1225939"/>
            </a:xfrm>
            <a:prstGeom prst="hexagon">
              <a:avLst/>
            </a:prstGeom>
            <a:solidFill>
              <a:schemeClr val="bg1">
                <a:lumMod val="9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6C36B3FE-23D7-4834-A638-DD5837ECC50B}"/>
                </a:ext>
              </a:extLst>
            </p:cNvPr>
            <p:cNvSpPr/>
            <p:nvPr userDrawn="1"/>
          </p:nvSpPr>
          <p:spPr bwMode="auto">
            <a:xfrm>
              <a:off x="6280198" y="657724"/>
              <a:ext cx="489775" cy="422220"/>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1B9B94DA-F466-47AC-92DD-E349926A53E2}"/>
                </a:ext>
              </a:extLst>
            </p:cNvPr>
            <p:cNvSpPr/>
            <p:nvPr userDrawn="1"/>
          </p:nvSpPr>
          <p:spPr bwMode="auto">
            <a:xfrm>
              <a:off x="6764044" y="439106"/>
              <a:ext cx="3260430" cy="2810716"/>
            </a:xfrm>
            <a:prstGeom prst="hexagon">
              <a:avLst/>
            </a:pr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8" name="Freeform: Shape 27">
            <a:extLst>
              <a:ext uri="{FF2B5EF4-FFF2-40B4-BE49-F238E27FC236}">
                <a16:creationId xmlns:a16="http://schemas.microsoft.com/office/drawing/2014/main" id="{7B410F84-96D9-4135-A2D5-380F90767A85}"/>
              </a:ext>
            </a:extLst>
          </p:cNvPr>
          <p:cNvSpPr/>
          <p:nvPr userDrawn="1"/>
        </p:nvSpPr>
        <p:spPr bwMode="auto">
          <a:xfrm>
            <a:off x="8918859" y="3803105"/>
            <a:ext cx="3273139" cy="3054894"/>
          </a:xfrm>
          <a:custGeom>
            <a:avLst/>
            <a:gdLst>
              <a:gd name="connsiteX0" fmla="*/ 883583 w 3338772"/>
              <a:gd name="connsiteY0" fmla="*/ 0 h 3115709"/>
              <a:gd name="connsiteX1" fmla="*/ 3216239 w 3338772"/>
              <a:gd name="connsiteY1" fmla="*/ 0 h 3115709"/>
              <a:gd name="connsiteX2" fmla="*/ 3338772 w 3338772"/>
              <a:gd name="connsiteY2" fmla="*/ 245066 h 3115709"/>
              <a:gd name="connsiteX3" fmla="*/ 3338772 w 3338772"/>
              <a:gd name="connsiteY3" fmla="*/ 3115709 h 3115709"/>
              <a:gd name="connsiteX4" fmla="*/ 674273 w 3338772"/>
              <a:gd name="connsiteY4" fmla="*/ 3115709 h 3115709"/>
              <a:gd name="connsiteX5" fmla="*/ 0 w 3338772"/>
              <a:gd name="connsiteY5" fmla="*/ 1767165 h 311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8772" h="3115709">
                <a:moveTo>
                  <a:pt x="883583" y="0"/>
                </a:moveTo>
                <a:lnTo>
                  <a:pt x="3216239" y="0"/>
                </a:lnTo>
                <a:lnTo>
                  <a:pt x="3338772" y="245066"/>
                </a:lnTo>
                <a:lnTo>
                  <a:pt x="3338772" y="3115709"/>
                </a:lnTo>
                <a:lnTo>
                  <a:pt x="674273" y="3115709"/>
                </a:lnTo>
                <a:lnTo>
                  <a:pt x="0" y="1767165"/>
                </a:lnTo>
                <a:close/>
              </a:path>
            </a:pathLst>
          </a:custGeom>
          <a:solidFill>
            <a:schemeClr val="accent3">
              <a:lumMod val="7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55994"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34" name="Picture 33" descr="A picture containing drawing&#10;&#10;Description automatically generated">
            <a:extLst>
              <a:ext uri="{FF2B5EF4-FFF2-40B4-BE49-F238E27FC236}">
                <a16:creationId xmlns:a16="http://schemas.microsoft.com/office/drawing/2014/main" id="{66031582-810D-46B0-86FC-2BD57723AF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8" y="257170"/>
            <a:ext cx="2379859" cy="569191"/>
          </a:xfrm>
          <a:prstGeom prst="rect">
            <a:avLst/>
          </a:prstGeom>
        </p:spPr>
      </p:pic>
    </p:spTree>
    <p:extLst>
      <p:ext uri="{BB962C8B-B14F-4D97-AF65-F5344CB8AC3E}">
        <p14:creationId xmlns:p14="http://schemas.microsoft.com/office/powerpoint/2010/main" val="3670136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Tree>
    <p:extLst>
      <p:ext uri="{BB962C8B-B14F-4D97-AF65-F5344CB8AC3E}">
        <p14:creationId xmlns:p14="http://schemas.microsoft.com/office/powerpoint/2010/main" val="3153395976"/>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4274774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tx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05F92AB-F632-4166-AC48-DBE6E6E3EF45}"/>
              </a:ext>
            </a:extLst>
          </p:cNvPr>
          <p:cNvSpPr/>
          <p:nvPr userDrawn="1"/>
        </p:nvSpPr>
        <p:spPr bwMode="auto">
          <a:xfrm>
            <a:off x="-1" y="986206"/>
            <a:ext cx="435242" cy="5871794"/>
          </a:xfrm>
          <a:prstGeom prst="rect">
            <a:avLst/>
          </a:pr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A63D0188-4CD5-42B8-8F58-182B5A007864}"/>
              </a:ext>
            </a:extLst>
          </p:cNvPr>
          <p:cNvSpPr/>
          <p:nvPr userDrawn="1"/>
        </p:nvSpPr>
        <p:spPr bwMode="auto">
          <a:xfrm>
            <a:off x="435242" y="986207"/>
            <a:ext cx="9978029" cy="5880680"/>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7518143" cy="1793104"/>
          </a:xfrm>
          <a:noFill/>
        </p:spPr>
        <p:txBody>
          <a:bodyPr lIns="0" tIns="0" rIns="0" bIns="182880" anchor="b" anchorCtr="0"/>
          <a:lstStyle>
            <a:lvl1pPr>
              <a:defRPr sz="3529" strike="noStrike" spc="-49" baseline="0">
                <a:solidFill>
                  <a:schemeClr val="bg1"/>
                </a:solidFill>
              </a:defRPr>
            </a:lvl1pPr>
          </a:lstStyle>
          <a:p>
            <a:r>
              <a:rPr lang="en-US"/>
              <a:t>Section title</a:t>
            </a:r>
          </a:p>
        </p:txBody>
      </p:sp>
      <p:sp>
        <p:nvSpPr>
          <p:cNvPr id="36" name="Freeform: Shape 35">
            <a:extLst>
              <a:ext uri="{FF2B5EF4-FFF2-40B4-BE49-F238E27FC236}">
                <a16:creationId xmlns:a16="http://schemas.microsoft.com/office/drawing/2014/main" id="{DA88A708-C613-4F9D-8BFF-3D1018795FE4}"/>
              </a:ext>
            </a:extLst>
          </p:cNvPr>
          <p:cNvSpPr/>
          <p:nvPr userDrawn="1"/>
        </p:nvSpPr>
        <p:spPr bwMode="auto">
          <a:xfrm>
            <a:off x="-77364" y="826362"/>
            <a:ext cx="10017464" cy="6031639"/>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no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A close up of a logo&#10;&#10;Description automatically generated">
            <a:extLst>
              <a:ext uri="{FF2B5EF4-FFF2-40B4-BE49-F238E27FC236}">
                <a16:creationId xmlns:a16="http://schemas.microsoft.com/office/drawing/2014/main" id="{D8B8C1BD-C346-4DB4-AC2E-EAA0A28B0B8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3190706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tx1"/>
                </a:solidFill>
              </a:defRPr>
            </a:lvl1pPr>
          </a:lstStyle>
          <a:p>
            <a:r>
              <a:rPr lang="en-US"/>
              <a:t>Thank you.</a:t>
            </a:r>
          </a:p>
        </p:txBody>
      </p:sp>
      <p:pic>
        <p:nvPicPr>
          <p:cNvPr id="8" name="Picture 7" descr="A picture containing drawing&#10;&#10;Description automatically generated">
            <a:extLst>
              <a:ext uri="{FF2B5EF4-FFF2-40B4-BE49-F238E27FC236}">
                <a16:creationId xmlns:a16="http://schemas.microsoft.com/office/drawing/2014/main" id="{5564B955-35A8-4763-9237-1CD3E8A20F6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8" y="257170"/>
            <a:ext cx="2379859" cy="569191"/>
          </a:xfrm>
          <a:prstGeom prst="rect">
            <a:avLst/>
          </a:prstGeom>
        </p:spPr>
      </p:pic>
    </p:spTree>
    <p:extLst>
      <p:ext uri="{BB962C8B-B14F-4D97-AF65-F5344CB8AC3E}">
        <p14:creationId xmlns:p14="http://schemas.microsoft.com/office/powerpoint/2010/main" val="37481352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4"/>
            <a:ext cx="11161444" cy="812531"/>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4047176546"/>
      </p:ext>
    </p:extLst>
  </p:cSld>
  <p:clrMapOvr>
    <a:masterClrMapping/>
  </p:clrMapOvr>
  <p:transition spd="slow">
    <p:push/>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Picture 6" descr="A picture containing drawing&#10;&#10;Description automatically generated">
            <a:extLst>
              <a:ext uri="{FF2B5EF4-FFF2-40B4-BE49-F238E27FC236}">
                <a16:creationId xmlns:a16="http://schemas.microsoft.com/office/drawing/2014/main" id="{4850B9EB-2755-4BF6-AF93-2EA8874317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88" t="29716" r="7152" b="29716"/>
          <a:stretch/>
        </p:blipFill>
        <p:spPr>
          <a:xfrm>
            <a:off x="442912" y="446900"/>
            <a:ext cx="1808163" cy="205022"/>
          </a:xfrm>
          <a:prstGeom prst="rect">
            <a:avLst/>
          </a:prstGeom>
        </p:spPr>
      </p:pic>
    </p:spTree>
    <p:extLst>
      <p:ext uri="{BB962C8B-B14F-4D97-AF65-F5344CB8AC3E}">
        <p14:creationId xmlns:p14="http://schemas.microsoft.com/office/powerpoint/2010/main" val="1960388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593216"/>
            <a:ext cx="9630389" cy="1793104"/>
          </a:xfrm>
          <a:noFill/>
        </p:spPr>
        <p:txBody>
          <a:bodyPr lIns="0" tIns="0" rIns="0" bIns="182880" anchor="b" anchorCtr="0"/>
          <a:lstStyle>
            <a:lvl1pPr>
              <a:defRPr sz="3921" strike="noStrike" spc="-49" baseline="0">
                <a:solidFill>
                  <a:schemeClr val="bg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410882"/>
            <a:ext cx="9602819" cy="745370"/>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8" name="Hexagon 7">
            <a:extLst>
              <a:ext uri="{FF2B5EF4-FFF2-40B4-BE49-F238E27FC236}">
                <a16:creationId xmlns:a16="http://schemas.microsoft.com/office/drawing/2014/main" id="{4D406F93-D5AB-4302-94F4-D5B4654F5F35}"/>
              </a:ext>
            </a:extLst>
          </p:cNvPr>
          <p:cNvSpPr/>
          <p:nvPr userDrawn="1"/>
        </p:nvSpPr>
        <p:spPr bwMode="auto">
          <a:xfrm>
            <a:off x="7588790" y="1657639"/>
            <a:ext cx="4603210" cy="5059190"/>
          </a:xfrm>
          <a:custGeom>
            <a:avLst/>
            <a:gdLst>
              <a:gd name="connsiteX0" fmla="*/ 0 w 5985491"/>
              <a:gd name="connsiteY0" fmla="*/ 2579954 h 5159907"/>
              <a:gd name="connsiteX1" fmla="*/ 1289977 w 5985491"/>
              <a:gd name="connsiteY1" fmla="*/ 1 h 5159907"/>
              <a:gd name="connsiteX2" fmla="*/ 4695514 w 5985491"/>
              <a:gd name="connsiteY2" fmla="*/ 1 h 5159907"/>
              <a:gd name="connsiteX3" fmla="*/ 5985491 w 5985491"/>
              <a:gd name="connsiteY3" fmla="*/ 2579954 h 5159907"/>
              <a:gd name="connsiteX4" fmla="*/ 4695514 w 5985491"/>
              <a:gd name="connsiteY4" fmla="*/ 5159906 h 5159907"/>
              <a:gd name="connsiteX5" fmla="*/ 1289977 w 5985491"/>
              <a:gd name="connsiteY5" fmla="*/ 5159906 h 5159907"/>
              <a:gd name="connsiteX6" fmla="*/ 0 w 5985491"/>
              <a:gd name="connsiteY6" fmla="*/ 2579954 h 5159907"/>
              <a:gd name="connsiteX0" fmla="*/ 0 w 4695514"/>
              <a:gd name="connsiteY0" fmla="*/ 2579953 h 5159905"/>
              <a:gd name="connsiteX1" fmla="*/ 1289977 w 4695514"/>
              <a:gd name="connsiteY1" fmla="*/ 0 h 5159905"/>
              <a:gd name="connsiteX2" fmla="*/ 4695514 w 4695514"/>
              <a:gd name="connsiteY2" fmla="*/ 0 h 5159905"/>
              <a:gd name="connsiteX3" fmla="*/ 4695514 w 4695514"/>
              <a:gd name="connsiteY3" fmla="*/ 5159905 h 5159905"/>
              <a:gd name="connsiteX4" fmla="*/ 1289977 w 4695514"/>
              <a:gd name="connsiteY4" fmla="*/ 5159905 h 5159905"/>
              <a:gd name="connsiteX5" fmla="*/ 0 w 4695514"/>
              <a:gd name="connsiteY5" fmla="*/ 2579953 h 515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5514" h="5159905">
                <a:moveTo>
                  <a:pt x="0" y="2579953"/>
                </a:moveTo>
                <a:lnTo>
                  <a:pt x="1289977" y="0"/>
                </a:lnTo>
                <a:lnTo>
                  <a:pt x="4695514" y="0"/>
                </a:lnTo>
                <a:lnTo>
                  <a:pt x="4695514" y="5159905"/>
                </a:lnTo>
                <a:lnTo>
                  <a:pt x="1289977" y="5159905"/>
                </a:lnTo>
                <a:lnTo>
                  <a:pt x="0" y="2579953"/>
                </a:lnTo>
                <a:close/>
              </a:path>
            </a:pathLst>
          </a:custGeom>
          <a:solidFill>
            <a:schemeClr val="bg1">
              <a:alpha val="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a:extLst>
              <a:ext uri="{FF2B5EF4-FFF2-40B4-BE49-F238E27FC236}">
                <a16:creationId xmlns:a16="http://schemas.microsoft.com/office/drawing/2014/main" id="{72F7356A-A1D0-486F-8874-61ED63F92C4C}"/>
              </a:ext>
            </a:extLst>
          </p:cNvPr>
          <p:cNvPicPr>
            <a:picLocks noChangeAspect="1"/>
          </p:cNvPicPr>
          <p:nvPr userDrawn="1"/>
        </p:nvPicPr>
        <p:blipFill rotWithShape="1">
          <a:blip r:embed="rId2">
            <a:alphaModFix/>
          </a:blip>
          <a:srcRect l="22790" r="26113"/>
          <a:stretch/>
        </p:blipFill>
        <p:spPr>
          <a:xfrm>
            <a:off x="6932637" y="0"/>
            <a:ext cx="5259364" cy="6858001"/>
          </a:xfrm>
          <a:custGeom>
            <a:avLst/>
            <a:gdLst>
              <a:gd name="connsiteX0" fmla="*/ 1152093 w 5364825"/>
              <a:gd name="connsiteY0" fmla="*/ 0 h 6994526"/>
              <a:gd name="connsiteX1" fmla="*/ 5364825 w 5364825"/>
              <a:gd name="connsiteY1" fmla="*/ 0 h 6994526"/>
              <a:gd name="connsiteX2" fmla="*/ 5364825 w 5364825"/>
              <a:gd name="connsiteY2" fmla="*/ 6994526 h 6994526"/>
              <a:gd name="connsiteX3" fmla="*/ 2345172 w 5364825"/>
              <a:gd name="connsiteY3" fmla="*/ 6994526 h 6994526"/>
              <a:gd name="connsiteX4" fmla="*/ 0 w 5364825"/>
              <a:gd name="connsiteY4" fmla="*/ 2304185 h 6994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4825" h="6994526">
                <a:moveTo>
                  <a:pt x="1152093" y="0"/>
                </a:moveTo>
                <a:lnTo>
                  <a:pt x="5364825" y="0"/>
                </a:lnTo>
                <a:lnTo>
                  <a:pt x="5364825" y="6994526"/>
                </a:lnTo>
                <a:lnTo>
                  <a:pt x="2345172" y="6994526"/>
                </a:lnTo>
                <a:lnTo>
                  <a:pt x="0" y="2304185"/>
                </a:lnTo>
                <a:close/>
              </a:path>
            </a:pathLst>
          </a:custGeom>
          <a:ln w="73025">
            <a:solidFill>
              <a:schemeClr val="accent2">
                <a:lumMod val="75000"/>
              </a:schemeClr>
            </a:solidFill>
          </a:ln>
        </p:spPr>
      </p:pic>
      <p:sp>
        <p:nvSpPr>
          <p:cNvPr id="25" name="Hexagon 24">
            <a:extLst>
              <a:ext uri="{FF2B5EF4-FFF2-40B4-BE49-F238E27FC236}">
                <a16:creationId xmlns:a16="http://schemas.microsoft.com/office/drawing/2014/main" id="{D91DF740-2287-438B-8638-AC9506FC89F3}"/>
              </a:ext>
            </a:extLst>
          </p:cNvPr>
          <p:cNvSpPr/>
          <p:nvPr userDrawn="1"/>
        </p:nvSpPr>
        <p:spPr bwMode="auto">
          <a:xfrm flipH="1">
            <a:off x="193717" y="5469796"/>
            <a:ext cx="1123467" cy="968644"/>
          </a:xfrm>
          <a:prstGeom prst="hexagon">
            <a:avLst/>
          </a:prstGeom>
          <a:solidFill>
            <a:schemeClr val="accent3">
              <a:lumMod val="7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6" name="Hexagon 25">
            <a:extLst>
              <a:ext uri="{FF2B5EF4-FFF2-40B4-BE49-F238E27FC236}">
                <a16:creationId xmlns:a16="http://schemas.microsoft.com/office/drawing/2014/main" id="{A3817EBB-15E7-412A-8B62-D53F0C41C703}"/>
              </a:ext>
            </a:extLst>
          </p:cNvPr>
          <p:cNvSpPr/>
          <p:nvPr userDrawn="1"/>
        </p:nvSpPr>
        <p:spPr bwMode="auto">
          <a:xfrm flipH="1">
            <a:off x="1229969" y="5469796"/>
            <a:ext cx="386928" cy="333606"/>
          </a:xfrm>
          <a:prstGeom prst="hexagon">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Shape 27">
            <a:extLst>
              <a:ext uri="{FF2B5EF4-FFF2-40B4-BE49-F238E27FC236}">
                <a16:creationId xmlns:a16="http://schemas.microsoft.com/office/drawing/2014/main" id="{3589F91B-35EF-4C87-BFA8-136D67F79B03}"/>
              </a:ext>
            </a:extLst>
          </p:cNvPr>
          <p:cNvSpPr/>
          <p:nvPr userDrawn="1"/>
        </p:nvSpPr>
        <p:spPr bwMode="auto">
          <a:xfrm flipH="1">
            <a:off x="0" y="5297063"/>
            <a:ext cx="1234653" cy="1560937"/>
          </a:xfrm>
          <a:custGeom>
            <a:avLst/>
            <a:gdLst>
              <a:gd name="connsiteX0" fmla="*/ 1259410 w 1259410"/>
              <a:gd name="connsiteY0" fmla="*/ 0 h 1592011"/>
              <a:gd name="connsiteX1" fmla="*/ 566256 w 1259410"/>
              <a:gd name="connsiteY1" fmla="*/ 0 h 1592011"/>
              <a:gd name="connsiteX2" fmla="*/ 0 w 1259410"/>
              <a:gd name="connsiteY2" fmla="*/ 1132511 h 1592011"/>
              <a:gd name="connsiteX3" fmla="*/ 229750 w 1259410"/>
              <a:gd name="connsiteY3" fmla="*/ 1592011 h 1592011"/>
              <a:gd name="connsiteX4" fmla="*/ 1259410 w 1259410"/>
              <a:gd name="connsiteY4" fmla="*/ 1592011 h 159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9410" h="1592011">
                <a:moveTo>
                  <a:pt x="1259410" y="0"/>
                </a:moveTo>
                <a:lnTo>
                  <a:pt x="566256" y="0"/>
                </a:lnTo>
                <a:lnTo>
                  <a:pt x="0" y="1132511"/>
                </a:lnTo>
                <a:lnTo>
                  <a:pt x="229750" y="1592011"/>
                </a:lnTo>
                <a:lnTo>
                  <a:pt x="1259410" y="1592011"/>
                </a:lnTo>
                <a:close/>
              </a:path>
            </a:pathLst>
          </a:cu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Shape 21">
            <a:extLst>
              <a:ext uri="{FF2B5EF4-FFF2-40B4-BE49-F238E27FC236}">
                <a16:creationId xmlns:a16="http://schemas.microsoft.com/office/drawing/2014/main" id="{437A968C-570A-4E87-A329-4B1BD7AE2E82}"/>
              </a:ext>
            </a:extLst>
          </p:cNvPr>
          <p:cNvSpPr/>
          <p:nvPr userDrawn="1"/>
        </p:nvSpPr>
        <p:spPr bwMode="auto">
          <a:xfrm flipH="1">
            <a:off x="6823926" y="2"/>
            <a:ext cx="5368074" cy="6857996"/>
          </a:xfrm>
          <a:custGeom>
            <a:avLst/>
            <a:gdLst>
              <a:gd name="connsiteX0" fmla="*/ 4877833 w 5475715"/>
              <a:gd name="connsiteY0" fmla="*/ 0 h 6994521"/>
              <a:gd name="connsiteX1" fmla="*/ 0 w 5475715"/>
              <a:gd name="connsiteY1" fmla="*/ 0 h 6994521"/>
              <a:gd name="connsiteX2" fmla="*/ 0 w 5475715"/>
              <a:gd name="connsiteY2" fmla="*/ 6994521 h 6994521"/>
              <a:gd name="connsiteX3" fmla="*/ 2576335 w 5475715"/>
              <a:gd name="connsiteY3" fmla="*/ 6994521 h 6994521"/>
              <a:gd name="connsiteX4" fmla="*/ 5475715 w 5475715"/>
              <a:gd name="connsiteY4" fmla="*/ 1195763 h 699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5715" h="6994521">
                <a:moveTo>
                  <a:pt x="4877833" y="0"/>
                </a:moveTo>
                <a:lnTo>
                  <a:pt x="0" y="0"/>
                </a:lnTo>
                <a:lnTo>
                  <a:pt x="0" y="6994521"/>
                </a:lnTo>
                <a:lnTo>
                  <a:pt x="2576335" y="6994521"/>
                </a:lnTo>
                <a:lnTo>
                  <a:pt x="5475715" y="1195763"/>
                </a:lnTo>
                <a:close/>
              </a:path>
            </a:pathLst>
          </a:custGeom>
          <a:noFill/>
          <a:ln>
            <a:solidFill>
              <a:schemeClr val="accent1">
                <a:lumMod val="10000"/>
                <a:alpha val="2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descr="A picture containing drawing&#10;&#10;Description automatically generated">
            <a:extLst>
              <a:ext uri="{FF2B5EF4-FFF2-40B4-BE49-F238E27FC236}">
                <a16:creationId xmlns:a16="http://schemas.microsoft.com/office/drawing/2014/main" id="{51A573F8-3489-4C3A-8F23-056CF9B8DEA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288" t="29716" r="7152" b="29716"/>
          <a:stretch/>
        </p:blipFill>
        <p:spPr>
          <a:xfrm>
            <a:off x="442912" y="446900"/>
            <a:ext cx="1808163" cy="205022"/>
          </a:xfrm>
          <a:prstGeom prst="rect">
            <a:avLst/>
          </a:prstGeom>
        </p:spPr>
      </p:pic>
    </p:spTree>
    <p:extLst>
      <p:ext uri="{BB962C8B-B14F-4D97-AF65-F5344CB8AC3E}">
        <p14:creationId xmlns:p14="http://schemas.microsoft.com/office/powerpoint/2010/main" val="6080455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_Title Slide 1">
    <p:bg>
      <p:bgPr>
        <a:solidFill>
          <a:schemeClr val="bg2"/>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7D0011F-D9C8-4890-B3F8-F6FA45BD5440}"/>
              </a:ext>
            </a:extLst>
          </p:cNvPr>
          <p:cNvSpPr/>
          <p:nvPr userDrawn="1"/>
        </p:nvSpPr>
        <p:spPr bwMode="auto">
          <a:xfrm>
            <a:off x="6591927" y="1010700"/>
            <a:ext cx="5600074" cy="5847300"/>
          </a:xfrm>
          <a:custGeom>
            <a:avLst/>
            <a:gdLst>
              <a:gd name="connsiteX0" fmla="*/ 3001586 w 5712367"/>
              <a:gd name="connsiteY0" fmla="*/ 0 h 5963705"/>
              <a:gd name="connsiteX1" fmla="*/ 5712367 w 5712367"/>
              <a:gd name="connsiteY1" fmla="*/ 0 h 5963705"/>
              <a:gd name="connsiteX2" fmla="*/ 5712367 w 5712367"/>
              <a:gd name="connsiteY2" fmla="*/ 5963705 h 5963705"/>
              <a:gd name="connsiteX3" fmla="*/ 0 w 5712367"/>
              <a:gd name="connsiteY3" fmla="*/ 5963705 h 5963705"/>
              <a:gd name="connsiteX4" fmla="*/ 11898 w 5712367"/>
              <a:gd name="connsiteY4" fmla="*/ 5938954 h 5963705"/>
              <a:gd name="connsiteX5" fmla="*/ 2727106 w 5712367"/>
              <a:gd name="connsiteY5" fmla="*/ 569692 h 596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2367" h="5963705">
                <a:moveTo>
                  <a:pt x="3001586" y="0"/>
                </a:moveTo>
                <a:lnTo>
                  <a:pt x="5712367" y="0"/>
                </a:lnTo>
                <a:lnTo>
                  <a:pt x="5712367" y="5963705"/>
                </a:lnTo>
                <a:lnTo>
                  <a:pt x="0" y="5963705"/>
                </a:lnTo>
                <a:lnTo>
                  <a:pt x="11898" y="5938954"/>
                </a:lnTo>
                <a:cubicBezTo>
                  <a:pt x="884975" y="4151620"/>
                  <a:pt x="1850339" y="2357306"/>
                  <a:pt x="2727106" y="569692"/>
                </a:cubicBezTo>
                <a:close/>
              </a:path>
            </a:pathLst>
          </a:cu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5DAE8F0B-C060-452B-B519-248F35F7AF34}"/>
              </a:ext>
            </a:extLst>
          </p:cNvPr>
          <p:cNvSpPr/>
          <p:nvPr userDrawn="1"/>
        </p:nvSpPr>
        <p:spPr bwMode="auto">
          <a:xfrm>
            <a:off x="6869391" y="770839"/>
            <a:ext cx="5322607" cy="6087162"/>
          </a:xfrm>
          <a:custGeom>
            <a:avLst/>
            <a:gdLst>
              <a:gd name="connsiteX0" fmla="*/ 3104171 w 5429336"/>
              <a:gd name="connsiteY0" fmla="*/ 0 h 6208342"/>
              <a:gd name="connsiteX1" fmla="*/ 5429336 w 5429336"/>
              <a:gd name="connsiteY1" fmla="*/ 0 h 6208342"/>
              <a:gd name="connsiteX2" fmla="*/ 5429336 w 5429336"/>
              <a:gd name="connsiteY2" fmla="*/ 6208342 h 6208342"/>
              <a:gd name="connsiteX3" fmla="*/ 0 w 5429336"/>
              <a:gd name="connsiteY3" fmla="*/ 6208342 h 6208342"/>
            </a:gdLst>
            <a:ahLst/>
            <a:cxnLst>
              <a:cxn ang="0">
                <a:pos x="connsiteX0" y="connsiteY0"/>
              </a:cxn>
              <a:cxn ang="0">
                <a:pos x="connsiteX1" y="connsiteY1"/>
              </a:cxn>
              <a:cxn ang="0">
                <a:pos x="connsiteX2" y="connsiteY2"/>
              </a:cxn>
              <a:cxn ang="0">
                <a:pos x="connsiteX3" y="connsiteY3"/>
              </a:cxn>
            </a:cxnLst>
            <a:rect l="l" t="t" r="r" b="b"/>
            <a:pathLst>
              <a:path w="5429336" h="6208342">
                <a:moveTo>
                  <a:pt x="3104171" y="0"/>
                </a:moveTo>
                <a:lnTo>
                  <a:pt x="5429336" y="0"/>
                </a:lnTo>
                <a:lnTo>
                  <a:pt x="5429336" y="6208342"/>
                </a:lnTo>
                <a:lnTo>
                  <a:pt x="0" y="6208342"/>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75DA8423-168F-4468-A111-F5D5CFAB61C7}"/>
              </a:ext>
            </a:extLst>
          </p:cNvPr>
          <p:cNvSpPr/>
          <p:nvPr userDrawn="1"/>
        </p:nvSpPr>
        <p:spPr bwMode="auto">
          <a:xfrm>
            <a:off x="8361454" y="2571359"/>
            <a:ext cx="1413986" cy="1219126"/>
          </a:xfrm>
          <a:prstGeom prst="hexagon">
            <a:avLst/>
          </a:prstGeom>
          <a:solidFill>
            <a:srgbClr val="3434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44930C04-939A-4BBA-91B2-B3783EB93BFD}"/>
              </a:ext>
            </a:extLst>
          </p:cNvPr>
          <p:cNvGrpSpPr/>
          <p:nvPr userDrawn="1"/>
        </p:nvGrpSpPr>
        <p:grpSpPr>
          <a:xfrm>
            <a:off x="6914781" y="965576"/>
            <a:ext cx="2958022" cy="2220813"/>
            <a:chOff x="6280198" y="439106"/>
            <a:chExt cx="3744276" cy="2810716"/>
          </a:xfrm>
        </p:grpSpPr>
        <p:sp>
          <p:nvSpPr>
            <p:cNvPr id="13" name="Hexagon 12">
              <a:extLst>
                <a:ext uri="{FF2B5EF4-FFF2-40B4-BE49-F238E27FC236}">
                  <a16:creationId xmlns:a16="http://schemas.microsoft.com/office/drawing/2014/main" id="{23FA493B-95EF-482D-BC56-0B67271C08BD}"/>
                </a:ext>
              </a:extLst>
            </p:cNvPr>
            <p:cNvSpPr/>
            <p:nvPr userDrawn="1"/>
          </p:nvSpPr>
          <p:spPr bwMode="auto">
            <a:xfrm>
              <a:off x="6659577" y="657724"/>
              <a:ext cx="1422089" cy="1225939"/>
            </a:xfrm>
            <a:prstGeom prst="hexagon">
              <a:avLst/>
            </a:prstGeom>
            <a:solidFill>
              <a:schemeClr val="bg1">
                <a:lumMod val="9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6C36B3FE-23D7-4834-A638-DD5837ECC50B}"/>
                </a:ext>
              </a:extLst>
            </p:cNvPr>
            <p:cNvSpPr/>
            <p:nvPr userDrawn="1"/>
          </p:nvSpPr>
          <p:spPr bwMode="auto">
            <a:xfrm>
              <a:off x="6280198" y="657724"/>
              <a:ext cx="489775" cy="422220"/>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1B9B94DA-F466-47AC-92DD-E349926A53E2}"/>
                </a:ext>
              </a:extLst>
            </p:cNvPr>
            <p:cNvSpPr/>
            <p:nvPr userDrawn="1"/>
          </p:nvSpPr>
          <p:spPr bwMode="auto">
            <a:xfrm>
              <a:off x="6764044" y="439106"/>
              <a:ext cx="3260430" cy="2810716"/>
            </a:xfrm>
            <a:prstGeom prst="hexagon">
              <a:avLst/>
            </a:prstGeom>
            <a:noFill/>
            <a:ln>
              <a:solidFill>
                <a:schemeClr val="accent2">
                  <a:alpha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8" name="Freeform: Shape 27">
            <a:extLst>
              <a:ext uri="{FF2B5EF4-FFF2-40B4-BE49-F238E27FC236}">
                <a16:creationId xmlns:a16="http://schemas.microsoft.com/office/drawing/2014/main" id="{7B410F84-96D9-4135-A2D5-380F90767A85}"/>
              </a:ext>
            </a:extLst>
          </p:cNvPr>
          <p:cNvSpPr/>
          <p:nvPr userDrawn="1"/>
        </p:nvSpPr>
        <p:spPr bwMode="auto">
          <a:xfrm>
            <a:off x="8918859" y="3803105"/>
            <a:ext cx="3273139" cy="3054894"/>
          </a:xfrm>
          <a:custGeom>
            <a:avLst/>
            <a:gdLst>
              <a:gd name="connsiteX0" fmla="*/ 883583 w 3338772"/>
              <a:gd name="connsiteY0" fmla="*/ 0 h 3115709"/>
              <a:gd name="connsiteX1" fmla="*/ 3216239 w 3338772"/>
              <a:gd name="connsiteY1" fmla="*/ 0 h 3115709"/>
              <a:gd name="connsiteX2" fmla="*/ 3338772 w 3338772"/>
              <a:gd name="connsiteY2" fmla="*/ 245066 h 3115709"/>
              <a:gd name="connsiteX3" fmla="*/ 3338772 w 3338772"/>
              <a:gd name="connsiteY3" fmla="*/ 3115709 h 3115709"/>
              <a:gd name="connsiteX4" fmla="*/ 674273 w 3338772"/>
              <a:gd name="connsiteY4" fmla="*/ 3115709 h 3115709"/>
              <a:gd name="connsiteX5" fmla="*/ 0 w 3338772"/>
              <a:gd name="connsiteY5" fmla="*/ 1767165 h 311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8772" h="3115709">
                <a:moveTo>
                  <a:pt x="883583" y="0"/>
                </a:moveTo>
                <a:lnTo>
                  <a:pt x="3216239" y="0"/>
                </a:lnTo>
                <a:lnTo>
                  <a:pt x="3338772" y="245066"/>
                </a:lnTo>
                <a:lnTo>
                  <a:pt x="3338772" y="3115709"/>
                </a:lnTo>
                <a:lnTo>
                  <a:pt x="674273" y="3115709"/>
                </a:lnTo>
                <a:lnTo>
                  <a:pt x="0" y="1767165"/>
                </a:lnTo>
                <a:close/>
              </a:path>
            </a:pathLst>
          </a:custGeom>
          <a:solidFill>
            <a:schemeClr val="accent3">
              <a:lumMod val="7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55994"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34" name="Picture 33" descr="A picture containing drawing&#10;&#10;Description automatically generated">
            <a:extLst>
              <a:ext uri="{FF2B5EF4-FFF2-40B4-BE49-F238E27FC236}">
                <a16:creationId xmlns:a16="http://schemas.microsoft.com/office/drawing/2014/main" id="{66031582-810D-46B0-86FC-2BD57723AF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8" y="257170"/>
            <a:ext cx="2379859" cy="569191"/>
          </a:xfrm>
          <a:prstGeom prst="rect">
            <a:avLst/>
          </a:prstGeom>
        </p:spPr>
      </p:pic>
    </p:spTree>
    <p:extLst>
      <p:ext uri="{BB962C8B-B14F-4D97-AF65-F5344CB8AC3E}">
        <p14:creationId xmlns:p14="http://schemas.microsoft.com/office/powerpoint/2010/main" val="5574374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4_Title Slide 1">
    <p:bg>
      <p:bgPr>
        <a:solidFill>
          <a:schemeClr val="bg2"/>
        </a:solidFill>
        <a:effectLst/>
      </p:bgPr>
    </p:bg>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9A712B34-662C-419C-B5BA-73C301D3370D}"/>
              </a:ext>
            </a:extLst>
          </p:cNvPr>
          <p:cNvSpPr/>
          <p:nvPr userDrawn="1"/>
        </p:nvSpPr>
        <p:spPr bwMode="auto">
          <a:xfrm>
            <a:off x="0" y="5840521"/>
            <a:ext cx="1857752" cy="1017477"/>
          </a:xfrm>
          <a:custGeom>
            <a:avLst/>
            <a:gdLst>
              <a:gd name="connsiteX0" fmla="*/ 0 w 1895004"/>
              <a:gd name="connsiteY0" fmla="*/ 0 h 1037732"/>
              <a:gd name="connsiteX1" fmla="*/ 1376138 w 1895004"/>
              <a:gd name="connsiteY1" fmla="*/ 0 h 1037732"/>
              <a:gd name="connsiteX2" fmla="*/ 1895004 w 1895004"/>
              <a:gd name="connsiteY2" fmla="*/ 1037732 h 1037732"/>
              <a:gd name="connsiteX3" fmla="*/ 0 w 1895004"/>
              <a:gd name="connsiteY3" fmla="*/ 1037732 h 1037732"/>
            </a:gdLst>
            <a:ahLst/>
            <a:cxnLst>
              <a:cxn ang="0">
                <a:pos x="connsiteX0" y="connsiteY0"/>
              </a:cxn>
              <a:cxn ang="0">
                <a:pos x="connsiteX1" y="connsiteY1"/>
              </a:cxn>
              <a:cxn ang="0">
                <a:pos x="connsiteX2" y="connsiteY2"/>
              </a:cxn>
              <a:cxn ang="0">
                <a:pos x="connsiteX3" y="connsiteY3"/>
              </a:cxn>
            </a:cxnLst>
            <a:rect l="l" t="t" r="r" b="b"/>
            <a:pathLst>
              <a:path w="1895004" h="1037732">
                <a:moveTo>
                  <a:pt x="0" y="0"/>
                </a:moveTo>
                <a:lnTo>
                  <a:pt x="1376138" y="0"/>
                </a:lnTo>
                <a:lnTo>
                  <a:pt x="1895004" y="1037732"/>
                </a:lnTo>
                <a:lnTo>
                  <a:pt x="0" y="1037732"/>
                </a:lnTo>
                <a:close/>
              </a:path>
            </a:pathLst>
          </a:custGeom>
          <a:noFill/>
          <a:ln>
            <a:solidFill>
              <a:schemeClr val="accent1">
                <a:alpha val="56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6012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0129"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18" name="Picture 17" descr="A picture containing drawing&#10;&#10;Description automatically generated">
            <a:extLst>
              <a:ext uri="{FF2B5EF4-FFF2-40B4-BE49-F238E27FC236}">
                <a16:creationId xmlns:a16="http://schemas.microsoft.com/office/drawing/2014/main" id="{2F413392-2770-4269-95BF-CBC43B25D3E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88" t="29716" r="7152" b="29716"/>
          <a:stretch/>
        </p:blipFill>
        <p:spPr>
          <a:xfrm>
            <a:off x="442912" y="446900"/>
            <a:ext cx="1808163" cy="205022"/>
          </a:xfrm>
          <a:prstGeom prst="rect">
            <a:avLst/>
          </a:prstGeom>
        </p:spPr>
      </p:pic>
    </p:spTree>
    <p:extLst>
      <p:ext uri="{BB962C8B-B14F-4D97-AF65-F5344CB8AC3E}">
        <p14:creationId xmlns:p14="http://schemas.microsoft.com/office/powerpoint/2010/main" val="1851327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7"/>
            <a:ext cx="1693247" cy="3034229"/>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416989567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5_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60129" y="2910454"/>
            <a:ext cx="7163186" cy="1793104"/>
          </a:xfrm>
          <a:noFill/>
        </p:spPr>
        <p:txBody>
          <a:bodyPr lIns="0" tIns="0" rIns="0" bIns="182880" anchor="b" anchorCtr="0"/>
          <a:lstStyle>
            <a:lvl1pPr>
              <a:defRPr sz="3921" strike="noStrike" spc="-49" baseline="0">
                <a:solidFill>
                  <a:schemeClr val="tx1"/>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0129" y="4761688"/>
            <a:ext cx="7093473"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18" name="Picture 17" descr="A picture containing drawing&#10;&#10;Description automatically generated">
            <a:extLst>
              <a:ext uri="{FF2B5EF4-FFF2-40B4-BE49-F238E27FC236}">
                <a16:creationId xmlns:a16="http://schemas.microsoft.com/office/drawing/2014/main" id="{2F413392-2770-4269-95BF-CBC43B25D3E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88" t="29716" r="7152" b="29716"/>
          <a:stretch/>
        </p:blipFill>
        <p:spPr>
          <a:xfrm>
            <a:off x="442912" y="446900"/>
            <a:ext cx="1808163" cy="205022"/>
          </a:xfrm>
          <a:prstGeom prst="rect">
            <a:avLst/>
          </a:prstGeom>
        </p:spPr>
      </p:pic>
    </p:spTree>
    <p:extLst>
      <p:ext uri="{BB962C8B-B14F-4D97-AF65-F5344CB8AC3E}">
        <p14:creationId xmlns:p14="http://schemas.microsoft.com/office/powerpoint/2010/main" val="8760712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3615" y="475648"/>
            <a:ext cx="11306469" cy="492443"/>
          </a:xfrm>
        </p:spPr>
        <p:txBody>
          <a:bodyPr wrap="square" lIns="0" tIns="0" rIns="0" bIns="0">
            <a:spAutoFit/>
          </a:bodyPr>
          <a:lstStyle>
            <a:lvl1pPr>
              <a:lnSpc>
                <a:spcPct val="100000"/>
              </a:lnSpc>
              <a:defRPr sz="3200" strike="noStrike">
                <a:solidFill>
                  <a:schemeClr val="tx1"/>
                </a:solidFill>
              </a:defRPr>
            </a:lvl1pPr>
          </a:lstStyle>
          <a:p>
            <a:r>
              <a:rPr lang="en-US"/>
              <a:t>Title</a:t>
            </a:r>
          </a:p>
        </p:txBody>
      </p:sp>
    </p:spTree>
    <p:extLst>
      <p:ext uri="{BB962C8B-B14F-4D97-AF65-F5344CB8AC3E}">
        <p14:creationId xmlns:p14="http://schemas.microsoft.com/office/powerpoint/2010/main" val="20365094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233586"/>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1359470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tx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05F92AB-F632-4166-AC48-DBE6E6E3EF45}"/>
              </a:ext>
            </a:extLst>
          </p:cNvPr>
          <p:cNvSpPr/>
          <p:nvPr userDrawn="1"/>
        </p:nvSpPr>
        <p:spPr bwMode="auto">
          <a:xfrm>
            <a:off x="-1" y="986206"/>
            <a:ext cx="435242" cy="5871794"/>
          </a:xfrm>
          <a:prstGeom prst="rect">
            <a:avLst/>
          </a:pr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A63D0188-4CD5-42B8-8F58-182B5A007864}"/>
              </a:ext>
            </a:extLst>
          </p:cNvPr>
          <p:cNvSpPr/>
          <p:nvPr userDrawn="1"/>
        </p:nvSpPr>
        <p:spPr bwMode="auto">
          <a:xfrm>
            <a:off x="435242" y="986207"/>
            <a:ext cx="9978029" cy="5880680"/>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solidFill>
            <a:srgbClr val="32323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7518143" cy="1793104"/>
          </a:xfrm>
          <a:noFill/>
        </p:spPr>
        <p:txBody>
          <a:bodyPr lIns="0" tIns="0" rIns="0" bIns="182880" anchor="b" anchorCtr="0"/>
          <a:lstStyle>
            <a:lvl1pPr>
              <a:defRPr sz="3529" strike="noStrike" spc="-49" baseline="0">
                <a:solidFill>
                  <a:schemeClr val="bg1"/>
                </a:solidFill>
              </a:defRPr>
            </a:lvl1pPr>
          </a:lstStyle>
          <a:p>
            <a:r>
              <a:rPr lang="en-US"/>
              <a:t>Section title</a:t>
            </a:r>
          </a:p>
        </p:txBody>
      </p:sp>
      <p:sp>
        <p:nvSpPr>
          <p:cNvPr id="36" name="Freeform: Shape 35">
            <a:extLst>
              <a:ext uri="{FF2B5EF4-FFF2-40B4-BE49-F238E27FC236}">
                <a16:creationId xmlns:a16="http://schemas.microsoft.com/office/drawing/2014/main" id="{DA88A708-C613-4F9D-8BFF-3D1018795FE4}"/>
              </a:ext>
            </a:extLst>
          </p:cNvPr>
          <p:cNvSpPr/>
          <p:nvPr userDrawn="1"/>
        </p:nvSpPr>
        <p:spPr bwMode="auto">
          <a:xfrm>
            <a:off x="-77364" y="826362"/>
            <a:ext cx="10017464" cy="6031639"/>
          </a:xfrm>
          <a:custGeom>
            <a:avLst/>
            <a:gdLst>
              <a:gd name="connsiteX0" fmla="*/ 0 w 10178109"/>
              <a:gd name="connsiteY0" fmla="*/ 0 h 5997749"/>
              <a:gd name="connsiteX1" fmla="*/ 7179235 w 10178109"/>
              <a:gd name="connsiteY1" fmla="*/ 0 h 5997749"/>
              <a:gd name="connsiteX2" fmla="*/ 10178109 w 10178109"/>
              <a:gd name="connsiteY2" fmla="*/ 5997749 h 5997749"/>
              <a:gd name="connsiteX3" fmla="*/ 0 w 10178109"/>
              <a:gd name="connsiteY3" fmla="*/ 5997749 h 5997749"/>
            </a:gdLst>
            <a:ahLst/>
            <a:cxnLst>
              <a:cxn ang="0">
                <a:pos x="connsiteX0" y="connsiteY0"/>
              </a:cxn>
              <a:cxn ang="0">
                <a:pos x="connsiteX1" y="connsiteY1"/>
              </a:cxn>
              <a:cxn ang="0">
                <a:pos x="connsiteX2" y="connsiteY2"/>
              </a:cxn>
              <a:cxn ang="0">
                <a:pos x="connsiteX3" y="connsiteY3"/>
              </a:cxn>
            </a:cxnLst>
            <a:rect l="l" t="t" r="r" b="b"/>
            <a:pathLst>
              <a:path w="10178109" h="5997749">
                <a:moveTo>
                  <a:pt x="0" y="0"/>
                </a:moveTo>
                <a:lnTo>
                  <a:pt x="7179235" y="0"/>
                </a:lnTo>
                <a:lnTo>
                  <a:pt x="10178109" y="5997749"/>
                </a:lnTo>
                <a:lnTo>
                  <a:pt x="0" y="5997749"/>
                </a:lnTo>
                <a:close/>
              </a:path>
            </a:pathLst>
          </a:custGeom>
          <a:no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A close up of a logo&#10;&#10;Description automatically generated">
            <a:extLst>
              <a:ext uri="{FF2B5EF4-FFF2-40B4-BE49-F238E27FC236}">
                <a16:creationId xmlns:a16="http://schemas.microsoft.com/office/drawing/2014/main" id="{D8B8C1BD-C346-4DB4-AC2E-EAA0A28B0B8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9" y="257170"/>
            <a:ext cx="2379859" cy="569191"/>
          </a:xfrm>
          <a:prstGeom prst="rect">
            <a:avLst/>
          </a:prstGeom>
        </p:spPr>
      </p:pic>
    </p:spTree>
    <p:extLst>
      <p:ext uri="{BB962C8B-B14F-4D97-AF65-F5344CB8AC3E}">
        <p14:creationId xmlns:p14="http://schemas.microsoft.com/office/powerpoint/2010/main" val="337741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Title Slide 2">
    <p:bg>
      <p:bgPr>
        <a:solidFill>
          <a:schemeClr val="bg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57200" y="3029995"/>
            <a:ext cx="7468334" cy="1793104"/>
          </a:xfrm>
          <a:noFill/>
        </p:spPr>
        <p:txBody>
          <a:bodyPr lIns="0" tIns="0" rIns="0" bIns="182880" anchor="b" anchorCtr="0"/>
          <a:lstStyle>
            <a:lvl1pPr>
              <a:defRPr sz="3529" strike="noStrike" spc="-49" baseline="0">
                <a:solidFill>
                  <a:schemeClr val="bg1"/>
                </a:solidFill>
              </a:defRPr>
            </a:lvl1pPr>
          </a:lstStyle>
          <a:p>
            <a:r>
              <a:rPr lang="en-US"/>
              <a:t>Section title</a:t>
            </a:r>
          </a:p>
        </p:txBody>
      </p:sp>
      <p:pic>
        <p:nvPicPr>
          <p:cNvPr id="7" name="Picture 6" descr="A picture containing drawing&#10;&#10;Description automatically generated">
            <a:extLst>
              <a:ext uri="{FF2B5EF4-FFF2-40B4-BE49-F238E27FC236}">
                <a16:creationId xmlns:a16="http://schemas.microsoft.com/office/drawing/2014/main" id="{A171CF4D-3C84-415F-92B0-3ED8AB7056A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88" t="29716" r="7152" b="29716"/>
          <a:stretch/>
        </p:blipFill>
        <p:spPr>
          <a:xfrm>
            <a:off x="442912" y="446900"/>
            <a:ext cx="1808163" cy="205022"/>
          </a:xfrm>
          <a:prstGeom prst="rect">
            <a:avLst/>
          </a:prstGeom>
        </p:spPr>
      </p:pic>
    </p:spTree>
    <p:extLst>
      <p:ext uri="{BB962C8B-B14F-4D97-AF65-F5344CB8AC3E}">
        <p14:creationId xmlns:p14="http://schemas.microsoft.com/office/powerpoint/2010/main" val="694356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76053" y="3005763"/>
            <a:ext cx="7453439" cy="846474"/>
          </a:xfrm>
          <a:noFill/>
        </p:spPr>
        <p:txBody>
          <a:bodyPr lIns="0" tIns="0" rIns="0" bIns="0" anchor="ctr" anchorCtr="0"/>
          <a:lstStyle>
            <a:lvl1pPr>
              <a:lnSpc>
                <a:spcPct val="100000"/>
              </a:lnSpc>
              <a:spcAft>
                <a:spcPts val="1274"/>
              </a:spcAft>
              <a:defRPr sz="4400" spc="-49" baseline="0">
                <a:solidFill>
                  <a:schemeClr val="tx1"/>
                </a:solidFill>
                <a:latin typeface="+mj-lt"/>
              </a:defRPr>
            </a:lvl1pPr>
          </a:lstStyle>
          <a:p>
            <a:r>
              <a:rPr lang="en-US"/>
              <a:t>Thank you.</a:t>
            </a:r>
          </a:p>
        </p:txBody>
      </p:sp>
      <p:pic>
        <p:nvPicPr>
          <p:cNvPr id="5" name="Picture 4" descr="A picture containing drawing&#10;&#10;Description automatically generated">
            <a:extLst>
              <a:ext uri="{FF2B5EF4-FFF2-40B4-BE49-F238E27FC236}">
                <a16:creationId xmlns:a16="http://schemas.microsoft.com/office/drawing/2014/main" id="{B869ED07-2A0A-4DFE-86E7-3B097DF6B07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88" t="29716" r="7152" b="29716"/>
          <a:stretch/>
        </p:blipFill>
        <p:spPr>
          <a:xfrm>
            <a:off x="442912" y="446900"/>
            <a:ext cx="1808163" cy="205022"/>
          </a:xfrm>
          <a:prstGeom prst="rect">
            <a:avLst/>
          </a:prstGeom>
        </p:spPr>
      </p:pic>
    </p:spTree>
    <p:extLst>
      <p:ext uri="{BB962C8B-B14F-4D97-AF65-F5344CB8AC3E}">
        <p14:creationId xmlns:p14="http://schemas.microsoft.com/office/powerpoint/2010/main" val="1843011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2311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800">
                <a:solidFill>
                  <a:schemeClr val="tx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76053" y="3005763"/>
            <a:ext cx="7453439" cy="846474"/>
          </a:xfrm>
          <a:noFill/>
        </p:spPr>
        <p:txBody>
          <a:bodyPr lIns="0" tIns="0" rIns="0" bIns="0" anchor="ctr" anchorCtr="0"/>
          <a:lstStyle>
            <a:lvl1pPr>
              <a:lnSpc>
                <a:spcPct val="100000"/>
              </a:lnSpc>
              <a:spcAft>
                <a:spcPts val="1274"/>
              </a:spcAft>
              <a:defRPr sz="4400" spc="-49" baseline="0">
                <a:solidFill>
                  <a:schemeClr val="tx1"/>
                </a:solidFill>
                <a:latin typeface="+mj-lt"/>
              </a:defRPr>
            </a:lvl1pPr>
          </a:lstStyle>
          <a:p>
            <a:r>
              <a:rPr lang="en-US"/>
              <a:t>Thank you.</a:t>
            </a:r>
          </a:p>
        </p:txBody>
      </p:sp>
      <p:pic>
        <p:nvPicPr>
          <p:cNvPr id="5" name="Picture 4" descr="A picture containing drawing&#10;&#10;Description automatically generated">
            <a:extLst>
              <a:ext uri="{FF2B5EF4-FFF2-40B4-BE49-F238E27FC236}">
                <a16:creationId xmlns:a16="http://schemas.microsoft.com/office/drawing/2014/main" id="{B869ED07-2A0A-4DFE-86E7-3B097DF6B07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88" t="29716" r="7152" b="29716"/>
          <a:stretch/>
        </p:blipFill>
        <p:spPr>
          <a:xfrm>
            <a:off x="442912" y="446900"/>
            <a:ext cx="1808163" cy="205022"/>
          </a:xfrm>
          <a:prstGeom prst="rect">
            <a:avLst/>
          </a:prstGeom>
        </p:spPr>
      </p:pic>
    </p:spTree>
    <p:extLst>
      <p:ext uri="{BB962C8B-B14F-4D97-AF65-F5344CB8AC3E}">
        <p14:creationId xmlns:p14="http://schemas.microsoft.com/office/powerpoint/2010/main" val="3222776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465139" y="465139"/>
            <a:ext cx="11269662" cy="905062"/>
          </a:xfrm>
        </p:spPr>
        <p:txBody>
          <a:bodyPr/>
          <a:lstStyle>
            <a:lvl1pPr>
              <a:defRPr sz="3600"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57200" y="1436688"/>
            <a:ext cx="11269662" cy="2123658"/>
          </a:xfrm>
        </p:spPr>
        <p:txBody>
          <a:bodyPr wrap="square">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701356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4"/>
            <a:ext cx="11161444" cy="812531"/>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1072234135"/>
      </p:ext>
    </p:extLst>
  </p:cSld>
  <p:clrMapOvr>
    <a:masterClrMapping/>
  </p:clrMapOvr>
  <p:transition spd="slow">
    <p:push/>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bg1"/>
                </a:solidFill>
              </a:defRPr>
            </a:lvl1pPr>
          </a:lstStyle>
          <a:p>
            <a:r>
              <a:rPr lang="en-US"/>
              <a:t>Power Apps presentation title</a:t>
            </a:r>
          </a:p>
        </p:txBody>
      </p:sp>
      <p:pic>
        <p:nvPicPr>
          <p:cNvPr id="7" name="Picture 2">
            <a:extLst>
              <a:ext uri="{FF2B5EF4-FFF2-40B4-BE49-F238E27FC236}">
                <a16:creationId xmlns:a16="http://schemas.microsoft.com/office/drawing/2014/main" id="{B1FD7537-C1B5-4197-91C6-A520A9D1801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1"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89597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172342601"/>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7071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31564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0502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79" y="228603"/>
            <a:ext cx="11296416" cy="738664"/>
          </a:xfrm>
        </p:spPr>
        <p:txBody>
          <a:bodyPr/>
          <a:lstStyle>
            <a:lvl1pPr>
              <a:defRPr sz="4800"/>
            </a:lvl1pPr>
          </a:lstStyle>
          <a:p>
            <a:r>
              <a:rPr lang="en-US"/>
              <a:t>Click to edit Master title style</a:t>
            </a:r>
          </a:p>
        </p:txBody>
      </p:sp>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80006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044596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289533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3089270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798905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77786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7936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5"/>
              </a:lnSpc>
              <a:spcBef>
                <a:spcPts val="882"/>
              </a:spcBef>
              <a:buFont typeface="Arial" panose="020B0604020202020204" pitchFamily="34" charset="0"/>
              <a:buNone/>
              <a:defRPr sz="980" b="0" i="0" spc="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52461218"/>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5696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5573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69757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945291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4094658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327547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42161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75805896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74892827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49825547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3096948818"/>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52099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21180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62783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0825008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847921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84622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0446408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565249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14535588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9405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EE0DC86-1CBE-4943-892D-8177713C005D}"/>
              </a:ext>
            </a:extLst>
          </p:cNvPr>
          <p:cNvSpPr>
            <a:spLocks noGrp="1"/>
          </p:cNvSpPr>
          <p:nvPr>
            <p:ph type="title" hasCustomPrompt="1"/>
          </p:nvPr>
        </p:nvSpPr>
        <p:spPr>
          <a:xfrm>
            <a:off x="585216" y="3033223"/>
            <a:ext cx="9144000" cy="498598"/>
          </a:xfrm>
          <a:noFill/>
        </p:spPr>
        <p:txBody>
          <a:bodyPr lIns="0" tIns="0" rIns="0" bIns="0" anchor="b" anchorCtr="0">
            <a:spAutoFit/>
          </a:bodyPr>
          <a:lstStyle>
            <a:lvl1pPr algn="l" defTabSz="932205"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Demo title</a:t>
            </a:r>
          </a:p>
        </p:txBody>
      </p:sp>
      <p:sp>
        <p:nvSpPr>
          <p:cNvPr id="4" name="Text Placeholder 4">
            <a:extLst>
              <a:ext uri="{FF2B5EF4-FFF2-40B4-BE49-F238E27FC236}">
                <a16:creationId xmlns:a16="http://schemas.microsoft.com/office/drawing/2014/main" id="{A825A374-DA53-4635-8BF4-CD77A3DE7AFE}"/>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452528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55332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08538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93102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693370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528427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742208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8632283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74437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042855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018198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8E308C57-5B6E-4E33-BF3F-BAFC1E88A2B2}"/>
              </a:ext>
            </a:extLst>
          </p:cNvPr>
          <p:cNvSpPr>
            <a:spLocks noGrp="1"/>
          </p:cNvSpPr>
          <p:nvPr>
            <p:ph type="title" hasCustomPrompt="1"/>
          </p:nvPr>
        </p:nvSpPr>
        <p:spPr>
          <a:xfrm>
            <a:off x="585216" y="3035808"/>
            <a:ext cx="9144000" cy="498598"/>
          </a:xfrm>
          <a:noFill/>
        </p:spPr>
        <p:txBody>
          <a:bodyPr lIns="0" tIns="0" rIns="0" bIns="0" anchor="b" anchorCtr="0">
            <a:spAutoFit/>
          </a:bodyPr>
          <a:lstStyle>
            <a:lvl1pPr algn="l" defTabSz="932205"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68781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19153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86661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9535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3445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9384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550729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705946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30430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6887382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2"/>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2"/>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519088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tx1"/>
                </a:solidFill>
              </a:defRPr>
            </a:lvl1pPr>
          </a:lstStyle>
          <a:p>
            <a:r>
              <a:rPr lang="en-US"/>
              <a:t>Thank you.</a:t>
            </a:r>
          </a:p>
        </p:txBody>
      </p:sp>
      <p:pic>
        <p:nvPicPr>
          <p:cNvPr id="6" name="Picture 2">
            <a:extLst>
              <a:ext uri="{FF2B5EF4-FFF2-40B4-BE49-F238E27FC236}">
                <a16:creationId xmlns:a16="http://schemas.microsoft.com/office/drawing/2014/main" id="{194C8120-35E5-4A35-8E18-541233CB71E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2" y="153680"/>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0374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449" y="619047"/>
            <a:ext cx="455362" cy="455362"/>
          </a:xfrm>
          <a:prstGeom prst="rect">
            <a:avLst/>
          </a:prstGeom>
        </p:spPr>
      </p:pic>
    </p:spTree>
    <p:extLst>
      <p:ext uri="{BB962C8B-B14F-4D97-AF65-F5344CB8AC3E}">
        <p14:creationId xmlns:p14="http://schemas.microsoft.com/office/powerpoint/2010/main" val="4040791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650331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352954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7143809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505809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3"/>
            </a:solidFill>
          </a:ln>
        </p:spPr>
        <p:txBody>
          <a:bodyPr wrap="square" lIns="182880" tIns="182880" rIns="182880" bIns="182880" anchor="t" anchorCtr="0">
            <a:noAutofit/>
          </a:bodyPr>
          <a:lstStyle>
            <a:lvl1pPr marL="0" indent="0">
              <a:buNone/>
              <a:defRPr sz="1100">
                <a:gradFill>
                  <a:gsLst>
                    <a:gs pos="82000">
                      <a:schemeClr val="accent3"/>
                    </a:gs>
                    <a:gs pos="0">
                      <a:schemeClr val="accent3"/>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3"/>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3"/>
                    </a:gs>
                    <a:gs pos="0">
                      <a:schemeClr val="accent3"/>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185762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39657" y="454050"/>
            <a:ext cx="785356" cy="7853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5724" y="610881"/>
            <a:ext cx="453222" cy="453222"/>
          </a:xfrm>
          <a:prstGeom prst="rect">
            <a:avLst/>
          </a:prstGeom>
        </p:spPr>
      </p:pic>
    </p:spTree>
    <p:extLst>
      <p:ext uri="{BB962C8B-B14F-4D97-AF65-F5344CB8AC3E}">
        <p14:creationId xmlns:p14="http://schemas.microsoft.com/office/powerpoint/2010/main" val="34558019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504928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011456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6624667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023072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9444059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rgbClr val="6A4B16"/>
            </a:solidFill>
          </a:ln>
        </p:spPr>
        <p:txBody>
          <a:bodyPr wrap="square" lIns="182880" tIns="182880" rIns="182880" bIns="182880" anchor="t" anchorCtr="0">
            <a:noAutofit/>
          </a:bodyPr>
          <a:lstStyle>
            <a:lvl1pPr marL="0" indent="0">
              <a:buNone/>
              <a:defRPr sz="1100">
                <a:gradFill>
                  <a:gsLst>
                    <a:gs pos="82000">
                      <a:srgbClr val="6A4B16"/>
                    </a:gs>
                    <a:gs pos="0">
                      <a:srgbClr val="6A4B1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rgbClr val="6A4B16"/>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rgbClr val="6A4B16"/>
                    </a:gs>
                    <a:gs pos="0">
                      <a:srgbClr val="6A4B1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352976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3735" y="618128"/>
            <a:ext cx="457200" cy="457200"/>
          </a:xfrm>
          <a:prstGeom prst="rect">
            <a:avLst/>
          </a:prstGeom>
        </p:spPr>
      </p:pic>
    </p:spTree>
    <p:extLst>
      <p:ext uri="{BB962C8B-B14F-4D97-AF65-F5344CB8AC3E}">
        <p14:creationId xmlns:p14="http://schemas.microsoft.com/office/powerpoint/2010/main" val="25437174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262911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748206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8203738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717352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5"/>
            </a:solidFill>
          </a:ln>
        </p:spPr>
        <p:txBody>
          <a:bodyPr wrap="square" lIns="182880" tIns="182880" rIns="182880" bIns="182880" anchor="t" anchorCtr="0">
            <a:noAutofit/>
          </a:bodyPr>
          <a:lstStyle>
            <a:lvl1pPr marL="0" indent="0">
              <a:buNone/>
              <a:defRPr sz="1100">
                <a:gradFill>
                  <a:gsLst>
                    <a:gs pos="82000">
                      <a:schemeClr val="accent5"/>
                    </a:gs>
                    <a:gs pos="0">
                      <a:schemeClr val="accent5"/>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5"/>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5"/>
                    </a:gs>
                    <a:gs pos="0">
                      <a:schemeClr val="accent5"/>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3183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5767" y="630160"/>
            <a:ext cx="457200" cy="457200"/>
          </a:xfrm>
          <a:prstGeom prst="rect">
            <a:avLst/>
          </a:prstGeom>
        </p:spPr>
      </p:pic>
    </p:spTree>
    <p:extLst>
      <p:ext uri="{BB962C8B-B14F-4D97-AF65-F5344CB8AC3E}">
        <p14:creationId xmlns:p14="http://schemas.microsoft.com/office/powerpoint/2010/main" val="60269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861572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58729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413192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897494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684264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6"/>
            </a:solidFill>
          </a:ln>
        </p:spPr>
        <p:txBody>
          <a:bodyPr wrap="square" lIns="182880" tIns="182880" rIns="182880" bIns="182880" anchor="t" anchorCtr="0">
            <a:noAutofit/>
          </a:bodyPr>
          <a:lstStyle>
            <a:lvl1pPr marL="0" indent="0">
              <a:buNone/>
              <a:defRPr sz="1100">
                <a:gradFill>
                  <a:gsLst>
                    <a:gs pos="82000">
                      <a:schemeClr val="accent6"/>
                    </a:gs>
                    <a:gs pos="0">
                      <a:schemeClr val="accent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6"/>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6"/>
                    </a:gs>
                    <a:gs pos="0">
                      <a:schemeClr val="accent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0130096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98713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7696739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091534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3"/>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0"/>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Tree>
    <p:extLst>
      <p:ext uri="{BB962C8B-B14F-4D97-AF65-F5344CB8AC3E}">
        <p14:creationId xmlns:p14="http://schemas.microsoft.com/office/powerpoint/2010/main" val="41899733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35793473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388428448"/>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4542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568047" y="173701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568047" y="2921255"/>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568047" y="4096365"/>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2"/>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2" y="1700066"/>
            <a:ext cx="3556129" cy="770920"/>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1197376544"/>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2"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7"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7" y="4026702"/>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981891649"/>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13157109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79" y="228602"/>
            <a:ext cx="11296416" cy="656655"/>
          </a:xfrm>
        </p:spPr>
        <p:txBody>
          <a:bodyPr/>
          <a:lstStyle>
            <a:lvl1pPr marL="0" indent="0">
              <a:buFont typeface="Wingdings" panose="05000000000000000000" pitchFamily="2" charset="2"/>
              <a:buNone/>
              <a:defRPr sz="4267"/>
            </a:lvl1pPr>
          </a:lstStyle>
          <a:p>
            <a:r>
              <a:rPr lang="en-US"/>
              <a:t>Click to edit Master title style</a:t>
            </a:r>
          </a:p>
        </p:txBody>
      </p:sp>
      <p:sp>
        <p:nvSpPr>
          <p:cNvPr id="3" name="Text Placeholder 2"/>
          <p:cNvSpPr>
            <a:spLocks noGrp="1"/>
          </p:cNvSpPr>
          <p:nvPr>
            <p:ph type="body" sz="quarter" idx="10"/>
          </p:nvPr>
        </p:nvSpPr>
        <p:spPr>
          <a:xfrm>
            <a:off x="584200" y="1435498"/>
            <a:ext cx="11018520" cy="1612749"/>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23813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18633992"/>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970394"/>
          </a:xfr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2764828446"/>
      </p:ext>
    </p:extLst>
  </p:cSld>
  <p:clrMapOvr>
    <a:masterClrMapping/>
  </p:clrMapOvr>
  <p:transition>
    <p:fade/>
  </p:transition>
  <p:hf hdr="0" ftr="0" dt="0"/>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569946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Blank White">
    <p:bg bwMode="lt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18604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80"/>
            <a:ext cx="11653523" cy="1900777"/>
          </a:xfrm>
          <a:prstGeom prst="rect">
            <a:avLst/>
          </a:prstGeom>
        </p:spPr>
        <p:txBody>
          <a:bodyPr/>
          <a:lstStyle>
            <a:lvl1pPr marL="284757" indent="-284757">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77" indent="-275422">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34" indent="-28475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05" indent="-22407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76" indent="-22407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9193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3"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8"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1"/>
            <a:ext cx="1489700" cy="1345023"/>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8" y="4026701"/>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1"/>
            <a:ext cx="231576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3"/>
            <a:ext cx="2315763" cy="1339341"/>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marL="0" marR="0" lvl="0" indent="0" algn="l" defTabSz="91443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1"/>
            <a:ext cx="231576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43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227" indent="0">
              <a:buNone/>
              <a:defRPr/>
            </a:lvl3pPr>
            <a:lvl4pPr marL="672342" indent="0">
              <a:buNone/>
              <a:defRPr/>
            </a:lvl4pPr>
            <a:lvl5pPr marL="896455"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553089"/>
            <a:ext cx="11055907"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8" y="1225276"/>
            <a:ext cx="11046887" cy="301769"/>
          </a:xfrm>
        </p:spPr>
        <p:txBody>
          <a:bodyPr wrap="square" lIns="0" tIns="0" rIns="0" bIns="0">
            <a:spAutoFit/>
          </a:bodyPr>
          <a:lstStyle>
            <a:lvl1pPr marL="0" indent="0" algn="ctr">
              <a:lnSpc>
                <a:spcPct val="100000"/>
              </a:lnSpc>
              <a:spcBef>
                <a:spcPts val="0"/>
              </a:spcBef>
              <a:spcAft>
                <a:spcPts val="1275"/>
              </a:spcAft>
              <a:buNone/>
              <a:defRPr sz="1961" b="0" i="0">
                <a:solidFill>
                  <a:srgbClr val="000000"/>
                </a:solidFill>
                <a:latin typeface="Segoe UI Light" panose="020B0502040204020203" pitchFamily="34" charset="0"/>
                <a:cs typeface="Segoe UI Light" panose="020B0502040204020203" pitchFamily="34" charset="0"/>
              </a:defRPr>
            </a:lvl1pPr>
            <a:lvl2pPr marL="224114" indent="0">
              <a:lnSpc>
                <a:spcPct val="90000"/>
              </a:lnSpc>
              <a:spcBef>
                <a:spcPts val="0"/>
              </a:spcBef>
              <a:spcAft>
                <a:spcPts val="1275"/>
              </a:spcAft>
              <a:buNone/>
              <a:defRPr sz="1961">
                <a:solidFill>
                  <a:schemeClr val="tx2"/>
                </a:solidFill>
              </a:defRPr>
            </a:lvl2pPr>
            <a:lvl3pPr marL="448227" indent="0">
              <a:spcBef>
                <a:spcPts val="0"/>
              </a:spcBef>
              <a:spcAft>
                <a:spcPts val="1275"/>
              </a:spcAft>
              <a:buNone/>
              <a:defRPr sz="1961"/>
            </a:lvl3pPr>
            <a:lvl4pPr marL="672342" indent="0">
              <a:spcBef>
                <a:spcPts val="0"/>
              </a:spcBef>
              <a:spcAft>
                <a:spcPts val="1275"/>
              </a:spcAft>
              <a:buNone/>
              <a:defRPr sz="1961"/>
            </a:lvl4pPr>
            <a:lvl5pPr marL="896455" indent="0">
              <a:buNone/>
              <a:defRPr/>
            </a:lvl5pPr>
          </a:lstStyle>
          <a:p>
            <a:pPr lvl="0"/>
            <a:r>
              <a:rPr lang="en-US"/>
              <a:t>Subtitle Segoe UI 20pt</a:t>
            </a:r>
          </a:p>
        </p:txBody>
      </p:sp>
    </p:spTree>
    <p:extLst>
      <p:ext uri="{BB962C8B-B14F-4D97-AF65-F5344CB8AC3E}">
        <p14:creationId xmlns:p14="http://schemas.microsoft.com/office/powerpoint/2010/main" val="104296956"/>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B0217-3846-4C07-94E3-76DF393042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6AE95B-5B24-4F96-AB43-A49386F52A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3BED49-C963-4546-BA61-E6884C644F65}"/>
              </a:ext>
            </a:extLst>
          </p:cNvPr>
          <p:cNvSpPr>
            <a:spLocks noGrp="1"/>
          </p:cNvSpPr>
          <p:nvPr>
            <p:ph type="dt" sz="half" idx="10"/>
          </p:nvPr>
        </p:nvSpPr>
        <p:spPr/>
        <p:txBody>
          <a:bodyPr/>
          <a:lstStyle/>
          <a:p>
            <a:fld id="{3A7C5F90-05A0-43BE-A0A6-ACF851174DDC}" type="datetimeFigureOut">
              <a:rPr lang="en-US" smtClean="0"/>
              <a:t>10/29/2021</a:t>
            </a:fld>
            <a:endParaRPr lang="en-US"/>
          </a:p>
        </p:txBody>
      </p:sp>
      <p:sp>
        <p:nvSpPr>
          <p:cNvPr id="5" name="Footer Placeholder 4">
            <a:extLst>
              <a:ext uri="{FF2B5EF4-FFF2-40B4-BE49-F238E27FC236}">
                <a16:creationId xmlns:a16="http://schemas.microsoft.com/office/drawing/2014/main" id="{7B147F9E-9C27-489A-8D61-4196D08C4F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0A08B8-42A1-44E9-8FD0-11CBB449A53E}"/>
              </a:ext>
            </a:extLst>
          </p:cNvPr>
          <p:cNvSpPr>
            <a:spLocks noGrp="1"/>
          </p:cNvSpPr>
          <p:nvPr>
            <p:ph type="sldNum" sz="quarter" idx="12"/>
          </p:nvPr>
        </p:nvSpPr>
        <p:spPr/>
        <p:txBody>
          <a:bodyPr/>
          <a:lstStyle/>
          <a:p>
            <a:fld id="{D0CD79EE-9688-4742-97BA-2FE44C633382}" type="slidenum">
              <a:rPr lang="en-US" smtClean="0"/>
              <a:t>‹#›</a:t>
            </a:fld>
            <a:endParaRPr lang="en-US"/>
          </a:p>
        </p:txBody>
      </p:sp>
    </p:spTree>
    <p:extLst>
      <p:ext uri="{BB962C8B-B14F-4D97-AF65-F5344CB8AC3E}">
        <p14:creationId xmlns:p14="http://schemas.microsoft.com/office/powerpoint/2010/main" val="145428138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Cover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8049" y="2532448"/>
            <a:ext cx="5429663" cy="1793104"/>
          </a:xfrm>
          <a:noFill/>
        </p:spPr>
        <p:txBody>
          <a:bodyPr lIns="0" tIns="0" rIns="0" bIns="182880" anchor="b" anchorCtr="0"/>
          <a:lstStyle>
            <a:lvl1pPr>
              <a:lnSpc>
                <a:spcPct val="100000"/>
              </a:lnSpc>
              <a:defRPr sz="5295" strike="noStrike" spc="-147"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8049" y="589920"/>
            <a:ext cx="1321129" cy="280339"/>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584961" y="4512334"/>
            <a:ext cx="5412751" cy="422423"/>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745"/>
              <a:t>Author name</a:t>
            </a:r>
          </a:p>
        </p:txBody>
      </p:sp>
    </p:spTree>
    <p:extLst>
      <p:ext uri="{BB962C8B-B14F-4D97-AF65-F5344CB8AC3E}">
        <p14:creationId xmlns:p14="http://schemas.microsoft.com/office/powerpoint/2010/main" val="17436455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Cover phot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581632" y="2532448"/>
            <a:ext cx="5429663" cy="1793104"/>
          </a:xfrm>
          <a:noFill/>
        </p:spPr>
        <p:txBody>
          <a:bodyPr lIns="0" tIns="0" rIns="0" bIns="182880" anchor="b" anchorCtr="0"/>
          <a:lstStyle>
            <a:lvl1pPr>
              <a:lnSpc>
                <a:spcPct val="100000"/>
              </a:lnSpc>
              <a:defRPr sz="5295" strike="noStrike" spc="-147"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598545" y="4512334"/>
            <a:ext cx="5412751" cy="422423"/>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745"/>
              <a:t>Author name</a:t>
            </a:r>
          </a:p>
        </p:txBody>
      </p:sp>
      <p:pic>
        <p:nvPicPr>
          <p:cNvPr id="3" name="Picture 2">
            <a:extLst>
              <a:ext uri="{FF2B5EF4-FFF2-40B4-BE49-F238E27FC236}">
                <a16:creationId xmlns:a16="http://schemas.microsoft.com/office/drawing/2014/main" id="{0B6680B1-00F6-45B2-AAD6-5363FF9BC5FB}"/>
              </a:ext>
            </a:extLst>
          </p:cNvPr>
          <p:cNvPicPr>
            <a:picLocks noChangeAspect="1"/>
          </p:cNvPicPr>
          <p:nvPr userDrawn="1"/>
        </p:nvPicPr>
        <p:blipFill>
          <a:blip r:embed="rId3"/>
          <a:stretch>
            <a:fillRect/>
          </a:stretch>
        </p:blipFill>
        <p:spPr>
          <a:xfrm>
            <a:off x="0" y="1008"/>
            <a:ext cx="12192000" cy="6855984"/>
          </a:xfrm>
          <a:prstGeom prst="rect">
            <a:avLst/>
          </a:prstGeom>
        </p:spPr>
      </p:pic>
    </p:spTree>
    <p:extLst>
      <p:ext uri="{BB962C8B-B14F-4D97-AF65-F5344CB8AC3E}">
        <p14:creationId xmlns:p14="http://schemas.microsoft.com/office/powerpoint/2010/main" val="3159885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Thank you blue">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E29FB3-0680-4A1D-945F-8B8E225901A0}"/>
              </a:ext>
            </a:extLst>
          </p:cNvPr>
          <p:cNvGraphicFramePr>
            <a:graphicFrameLocks noChangeAspect="1"/>
          </p:cNvGraphicFramePr>
          <p:nvPr userDrawn="1">
            <p:custDataLst>
              <p:tags r:id="rId2"/>
            </p:custDataLst>
            <p:extLst>
              <p:ext uri="{D42A27DB-BD31-4B8C-83A1-F6EECF244321}">
                <p14:modId xmlns:p14="http://schemas.microsoft.com/office/powerpoint/2010/main" val="1021826916"/>
              </p:ext>
            </p:extLst>
          </p:nvPr>
        </p:nvGraphicFramePr>
        <p:xfrm>
          <a:off x="1556" y="1558"/>
          <a:ext cx="1557" cy="1557"/>
        </p:xfrm>
        <a:graphic>
          <a:graphicData uri="http://schemas.openxmlformats.org/presentationml/2006/ole">
            <mc:AlternateContent xmlns:mc="http://schemas.openxmlformats.org/markup-compatibility/2006">
              <mc:Choice xmlns:v="urn:schemas-microsoft-com:vml" Requires="v">
                <p:oleObj spid="_x0000_s1027"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EEE29FB3-0680-4A1D-945F-8B8E225901A0}"/>
                          </a:ext>
                        </a:extLst>
                      </p:cNvPr>
                      <p:cNvPicPr/>
                      <p:nvPr/>
                    </p:nvPicPr>
                    <p:blipFill>
                      <a:blip r:embed="rId6"/>
                      <a:stretch>
                        <a:fillRect/>
                      </a:stretch>
                    </p:blipFill>
                    <p:spPr>
                      <a:xfrm>
                        <a:off x="1556" y="1558"/>
                        <a:ext cx="1557" cy="155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F50E89-F710-463B-8A38-3C0DFADA8A46}"/>
              </a:ext>
            </a:extLst>
          </p:cNvPr>
          <p:cNvSpPr/>
          <p:nvPr userDrawn="1">
            <p:custDataLst>
              <p:tags r:id="rId3"/>
            </p:custDataLst>
          </p:nvPr>
        </p:nvSpPr>
        <p:spPr bwMode="auto">
          <a:xfrm>
            <a:off x="0" y="1"/>
            <a:ext cx="155629" cy="1556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14173" fontAlgn="base">
              <a:lnSpc>
                <a:spcPct val="90000"/>
              </a:lnSpc>
              <a:spcBef>
                <a:spcPct val="0"/>
              </a:spcBef>
              <a:spcAft>
                <a:spcPct val="0"/>
              </a:spcAft>
            </a:pPr>
            <a:endParaRPr lang="en-US" sz="3137" b="0" i="0" baseline="0" dirty="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6" name="Title 1">
            <a:extLst>
              <a:ext uri="{FF2B5EF4-FFF2-40B4-BE49-F238E27FC236}">
                <a16:creationId xmlns:a16="http://schemas.microsoft.com/office/drawing/2014/main" id="{62F8B69E-34D5-9041-B011-3B3E232C8747}"/>
              </a:ext>
            </a:extLst>
          </p:cNvPr>
          <p:cNvSpPr>
            <a:spLocks noGrp="1"/>
          </p:cNvSpPr>
          <p:nvPr>
            <p:ph type="title" hasCustomPrompt="1"/>
          </p:nvPr>
        </p:nvSpPr>
        <p:spPr>
          <a:xfrm>
            <a:off x="568049" y="1829713"/>
            <a:ext cx="4482124" cy="1473396"/>
          </a:xfrm>
          <a:noFill/>
        </p:spPr>
        <p:txBody>
          <a:bodyPr lIns="0" tIns="0" rIns="0" bIns="0" anchor="ctr" anchorCtr="0"/>
          <a:lstStyle>
            <a:lvl1pPr>
              <a:lnSpc>
                <a:spcPct val="100000"/>
              </a:lnSpc>
              <a:spcAft>
                <a:spcPts val="1275"/>
              </a:spcAft>
              <a:defRPr sz="3137" spc="-147" baseline="0">
                <a:solidFill>
                  <a:schemeClr val="bg1"/>
                </a:solidFill>
              </a:defRPr>
            </a:lvl1pPr>
          </a:lstStyle>
          <a:p>
            <a:r>
              <a:rPr lang="en-US"/>
              <a:t>Thank you</a:t>
            </a:r>
          </a:p>
        </p:txBody>
      </p:sp>
      <p:pic>
        <p:nvPicPr>
          <p:cNvPr id="7" name="Picture 6">
            <a:extLst>
              <a:ext uri="{FF2B5EF4-FFF2-40B4-BE49-F238E27FC236}">
                <a16:creationId xmlns:a16="http://schemas.microsoft.com/office/drawing/2014/main" id="{C96D219C-ECD2-DC41-95D0-FC842A35FB7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568049" y="589920"/>
            <a:ext cx="1314756" cy="280339"/>
          </a:xfrm>
          <a:prstGeom prst="rect">
            <a:avLst/>
          </a:prstGeom>
        </p:spPr>
      </p:pic>
    </p:spTree>
    <p:extLst>
      <p:ext uri="{BB962C8B-B14F-4D97-AF65-F5344CB8AC3E}">
        <p14:creationId xmlns:p14="http://schemas.microsoft.com/office/powerpoint/2010/main" val="33597856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4510223"/>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7"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4"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70" y="2387126"/>
            <a:ext cx="2083751" cy="2083749"/>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7"/>
            <a:ext cx="2532888" cy="664797"/>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81603022"/>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1"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52143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4" y="1"/>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987170"/>
            <a:ext cx="4167887" cy="54636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3" y="3962401"/>
            <a:ext cx="4164583"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35589" y="9657"/>
            <a:ext cx="6856412" cy="5136868"/>
          </a:xfrm>
          <a:prstGeom prst="rect">
            <a:avLst/>
          </a:prstGeom>
        </p:spPr>
      </p:pic>
    </p:spTree>
    <p:extLst>
      <p:ext uri="{BB962C8B-B14F-4D97-AF65-F5344CB8AC3E}">
        <p14:creationId xmlns:p14="http://schemas.microsoft.com/office/powerpoint/2010/main" val="384401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6"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3" y="2308311"/>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1"/>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09"/>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8"/>
            <a:ext cx="11055907" cy="739343"/>
          </a:xfrm>
          <a:prstGeom prst="rect">
            <a:avLst/>
          </a:prstGeom>
        </p:spPr>
        <p:txBody>
          <a:bodyPr vert="horz" wrap="square" lIns="0" tIns="164592" rIns="0" bIns="0" rtlCol="0" anchor="t">
            <a:noAutofit/>
          </a:bodyPr>
          <a:lstStyle>
            <a:lvl1pPr algn="ctr">
              <a:lnSpc>
                <a:spcPct val="100000"/>
              </a:lnSpc>
              <a:defRPr sz="3137"/>
            </a:lvl1pPr>
          </a:lstStyle>
          <a:p>
            <a:r>
              <a:rPr lang="en-US" dirty="0"/>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8" y="1355683"/>
            <a:ext cx="11046887" cy="301771"/>
          </a:xfrm>
        </p:spPr>
        <p:txBody>
          <a:bodyPr wrap="square" lIns="0" tIns="0" rIns="0" bIns="0">
            <a:spAutoFit/>
          </a:bodyPr>
          <a:lstStyle>
            <a:lvl1pPr marL="0" indent="0" algn="ctr">
              <a:lnSpc>
                <a:spcPct val="100000"/>
              </a:lnSpc>
              <a:spcBef>
                <a:spcPts val="0"/>
              </a:spcBef>
              <a:spcAft>
                <a:spcPts val="1275"/>
              </a:spcAft>
              <a:buNone/>
              <a:defRPr sz="1961" b="0" i="0">
                <a:solidFill>
                  <a:srgbClr val="000000"/>
                </a:solidFill>
                <a:latin typeface="Segoe UI Light" panose="020B0502040204020203" pitchFamily="34" charset="0"/>
                <a:cs typeface="Segoe UI Light" panose="020B0502040204020203" pitchFamily="34" charset="0"/>
              </a:defRPr>
            </a:lvl1pPr>
            <a:lvl2pPr marL="224092" indent="0">
              <a:lnSpc>
                <a:spcPct val="90000"/>
              </a:lnSpc>
              <a:spcBef>
                <a:spcPts val="0"/>
              </a:spcBef>
              <a:spcAft>
                <a:spcPts val="1275"/>
              </a:spcAft>
              <a:buNone/>
              <a:defRPr sz="1961">
                <a:solidFill>
                  <a:schemeClr val="tx2"/>
                </a:solidFill>
              </a:defRPr>
            </a:lvl2pPr>
            <a:lvl3pPr marL="448182" indent="0">
              <a:spcBef>
                <a:spcPts val="0"/>
              </a:spcBef>
              <a:spcAft>
                <a:spcPts val="1275"/>
              </a:spcAft>
              <a:buNone/>
              <a:defRPr sz="1961"/>
            </a:lvl3pPr>
            <a:lvl4pPr marL="672274" indent="0">
              <a:spcBef>
                <a:spcPts val="0"/>
              </a:spcBef>
              <a:spcAft>
                <a:spcPts val="1275"/>
              </a:spcAft>
              <a:buNone/>
              <a:defRPr sz="1961"/>
            </a:lvl4pPr>
            <a:lvl5pPr marL="896364"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6"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3" y="3755499"/>
            <a:ext cx="2712433" cy="109805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44"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82" indent="0">
              <a:buNone/>
              <a:defRPr/>
            </a:lvl3pPr>
            <a:lvl4pPr marL="672274" indent="0">
              <a:buNone/>
              <a:defRPr/>
            </a:lvl4pPr>
            <a:lvl5pPr marL="896364"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37761674"/>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812531"/>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489078" y="1444752"/>
            <a:ext cx="11296417" cy="1318438"/>
          </a:xfrm>
        </p:spPr>
        <p:txBody>
          <a:bodyPr/>
          <a:lstStyle>
            <a:lvl1pPr>
              <a:lnSpc>
                <a:spcPct val="100000"/>
              </a:lnSpc>
              <a:spcBef>
                <a:spcPts val="1600"/>
              </a:spcBef>
              <a:buClrTx/>
              <a:defRPr/>
            </a:lvl1pPr>
            <a:lvl2pPr marL="1528195" indent="-524920" defTabSz="1667892">
              <a:lnSpc>
                <a:spcPct val="100000"/>
              </a:lnSpc>
              <a:spcBef>
                <a:spcPts val="400"/>
              </a:spcBef>
              <a:buClrTx/>
              <a:defRPr/>
            </a:lvl2pPr>
            <a:lvl3pPr marL="2216095" indent="-459306">
              <a:lnSpc>
                <a:spcPct val="100000"/>
              </a:lnSpc>
              <a:buClrTx/>
              <a:defRPr/>
            </a:lvl3pPr>
            <a:lvl4pPr marL="2825680" indent="-459306">
              <a:lnSpc>
                <a:spcPct val="100000"/>
              </a:lnSpc>
              <a:buClrTx/>
              <a:defRPr/>
            </a:lvl4pPr>
            <a:lvl5pPr marL="3433148" indent="-446606">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1446871"/>
      </p:ext>
    </p:extLst>
  </p:cSld>
  <p:clrMapOvr>
    <a:masterClrMapping/>
  </p:clrMapOvr>
  <p:transition spd="slow">
    <p:push/>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89079" y="228602"/>
            <a:ext cx="11296416" cy="590931"/>
          </a:xfrm>
        </p:spPr>
        <p:txBody>
          <a:bodyPr/>
          <a:lstStyle>
            <a:lvl1pPr marL="0" indent="0">
              <a:buFont typeface="Wingdings" panose="05000000000000000000" pitchFamily="2" charset="2"/>
              <a:buNone/>
              <a:defRPr sz="2747"/>
            </a:lvl1pPr>
          </a:lstStyle>
          <a:p>
            <a:r>
              <a:rPr lang="en-US" dirty="0"/>
              <a:t>Click to edit Master title style</a:t>
            </a:r>
          </a:p>
        </p:txBody>
      </p:sp>
      <p:sp>
        <p:nvSpPr>
          <p:cNvPr id="3" name="Text Placeholder 2"/>
          <p:cNvSpPr>
            <a:spLocks noGrp="1"/>
          </p:cNvSpPr>
          <p:nvPr>
            <p:ph type="body" sz="quarter" idx="10"/>
          </p:nvPr>
        </p:nvSpPr>
        <p:spPr>
          <a:xfrm>
            <a:off x="584200" y="1435498"/>
            <a:ext cx="11018520" cy="1140440"/>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79292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E7851E-5809-4667-8CBF-95E4D277F472}"/>
              </a:ext>
            </a:extLst>
          </p:cNvPr>
          <p:cNvPicPr>
            <a:picLocks noChangeAspect="1"/>
          </p:cNvPicPr>
          <p:nvPr userDrawn="1"/>
        </p:nvPicPr>
        <p:blipFill rotWithShape="1">
          <a:blip r:embed="rId2"/>
          <a:srcRect t="14462" r="14246" b="4592"/>
          <a:stretch/>
        </p:blipFill>
        <p:spPr>
          <a:xfrm>
            <a:off x="0" y="974"/>
            <a:ext cx="12192000" cy="6857026"/>
          </a:xfrm>
          <a:prstGeom prst="rect">
            <a:avLst/>
          </a:prstGeom>
        </p:spPr>
      </p:pic>
      <p:sp>
        <p:nvSpPr>
          <p:cNvPr id="9" name="Rectangle 8">
            <a:extLst>
              <a:ext uri="{FF2B5EF4-FFF2-40B4-BE49-F238E27FC236}">
                <a16:creationId xmlns:a16="http://schemas.microsoft.com/office/drawing/2014/main" id="{A982BA67-D096-4542-A8FF-CD6C7B7D4B09}"/>
              </a:ext>
            </a:extLst>
          </p:cNvPr>
          <p:cNvSpPr/>
          <p:nvPr userDrawn="1"/>
        </p:nvSpPr>
        <p:spPr bwMode="auto">
          <a:xfrm>
            <a:off x="0" y="973"/>
            <a:ext cx="12192000" cy="6857027"/>
          </a:xfrm>
          <a:prstGeom prst="rect">
            <a:avLst/>
          </a:prstGeom>
          <a:gradFill flip="none" rotWithShape="1">
            <a:gsLst>
              <a:gs pos="100000">
                <a:srgbClr val="742772">
                  <a:alpha val="0"/>
                  <a:lumMod val="47000"/>
                </a:srgbClr>
              </a:gs>
              <a:gs pos="7000">
                <a:srgbClr val="742772">
                  <a:lumMod val="26000"/>
                  <a:alpha val="94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2">
            <a:extLst>
              <a:ext uri="{FF2B5EF4-FFF2-40B4-BE49-F238E27FC236}">
                <a16:creationId xmlns:a16="http://schemas.microsoft.com/office/drawing/2014/main" id="{DC0222EA-4550-4EE4-AF58-24DB29E8E67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1"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4" strike="noStrike" spc="-49" baseline="0">
                <a:solidFill>
                  <a:schemeClr val="bg1"/>
                </a:solidFill>
              </a:defRPr>
            </a:lvl1pPr>
          </a:lstStyle>
          <a:p>
            <a:r>
              <a:rPr lang="en-US"/>
              <a:t>Power Apps presentation title</a:t>
            </a: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Tree>
    <p:extLst>
      <p:ext uri="{BB962C8B-B14F-4D97-AF65-F5344CB8AC3E}">
        <p14:creationId xmlns:p14="http://schemas.microsoft.com/office/powerpoint/2010/main" val="4110320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2728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04800" y="1341122"/>
            <a:ext cx="11582400" cy="760336"/>
          </a:xfrm>
        </p:spPr>
        <p:txBody>
          <a:bodyPr/>
          <a:lstStyle>
            <a:lvl1pPr>
              <a:buClr>
                <a:schemeClr val="tx1"/>
              </a:buClr>
              <a:defRPr>
                <a:solidFill>
                  <a:schemeClr val="tx1"/>
                </a:solidFill>
              </a:defRPr>
            </a:lvl1pPr>
            <a:lvl2pPr>
              <a:buClr>
                <a:schemeClr val="tx1"/>
              </a:buClr>
              <a:defRPr spc="-93" baseline="0">
                <a:solidFill>
                  <a:schemeClr val="tx1"/>
                </a:solidFill>
              </a:defRPr>
            </a:lvl2pPr>
            <a:lvl3pPr>
              <a:buClr>
                <a:schemeClr val="tx1"/>
              </a:buClr>
              <a:defRPr spc="-93" baseline="0">
                <a:solidFill>
                  <a:schemeClr val="tx1"/>
                </a:solidFill>
              </a:defRPr>
            </a:lvl3pPr>
            <a:lvl4pPr>
              <a:defRPr spc="-93" baseline="0">
                <a:solidFill>
                  <a:schemeClr val="tx2"/>
                </a:solidFill>
              </a:defRPr>
            </a:lvl4pPr>
            <a:lvl5pPr>
              <a:defRPr spc="-93"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304800" y="228600"/>
            <a:ext cx="11582400" cy="975360"/>
          </a:xfrm>
          <a:prstGeom prst="rect">
            <a:avLst/>
          </a:prstGeom>
        </p:spPr>
        <p:txBody>
          <a:bodyPr vert="horz" lIns="0" tIns="45720" rIns="0" bIns="45720" rtlCol="0" anchor="ctr">
            <a:noAutofit/>
          </a:bodyPr>
          <a:lstStyle/>
          <a:p>
            <a:r>
              <a:rPr lang="en-US" dirty="0"/>
              <a:t>Click To Edit Master Title Style</a:t>
            </a:r>
          </a:p>
        </p:txBody>
      </p:sp>
    </p:spTree>
    <p:extLst>
      <p:ext uri="{BB962C8B-B14F-4D97-AF65-F5344CB8AC3E}">
        <p14:creationId xmlns:p14="http://schemas.microsoft.com/office/powerpoint/2010/main" val="97028731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lvl1pPr>
              <a:defRPr>
                <a:gradFill>
                  <a:gsLst>
                    <a:gs pos="0">
                      <a:schemeClr val="bg1">
                        <a:lumMod val="50000"/>
                      </a:schemeClr>
                    </a:gs>
                    <a:gs pos="100000">
                      <a:schemeClr val="bg1">
                        <a:lumMod val="50000"/>
                      </a:schemeClr>
                    </a:gs>
                  </a:gsLst>
                  <a:lin ang="5400000" scaled="1"/>
                </a:gradFill>
              </a:defRPr>
            </a:lvl1pPr>
          </a:lstStyle>
          <a:p>
            <a:r>
              <a:rPr lang="en-US" dirty="0"/>
              <a:t>© Microsoft Corporation                                                                                  								</a:t>
            </a:r>
          </a:p>
        </p:txBody>
      </p:sp>
    </p:spTree>
    <p:extLst>
      <p:ext uri="{BB962C8B-B14F-4D97-AF65-F5344CB8AC3E}">
        <p14:creationId xmlns:p14="http://schemas.microsoft.com/office/powerpoint/2010/main" val="323606509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1"/>
            <a:ext cx="5211763" cy="114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14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766304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140440"/>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1"/>
            <a:ext cx="1969707"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06151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26685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74943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dirty="0"/>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7" y="1672494"/>
            <a:ext cx="5891783" cy="3513015"/>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9" y="1882867"/>
            <a:ext cx="5497361" cy="3092267"/>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1" y="1672493"/>
            <a:ext cx="4714875" cy="96949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2" indent="0">
              <a:buFont typeface="Wingdings" panose="05000000000000000000" pitchFamily="2" charset="2"/>
              <a:buNone/>
              <a:defRPr sz="1600" b="0">
                <a:latin typeface="+mn-lt"/>
              </a:defRPr>
            </a:lvl2pPr>
            <a:lvl3pPr marL="450839" indent="0">
              <a:buFont typeface="Wingdings" panose="05000000000000000000" pitchFamily="2" charset="2"/>
              <a:buNone/>
              <a:tabLst/>
              <a:defRPr sz="1200" b="0">
                <a:latin typeface="+mn-lt"/>
              </a:defRPr>
            </a:lvl3pPr>
            <a:lvl4pPr marL="652446" indent="0">
              <a:buFont typeface="Wingdings" panose="05000000000000000000" pitchFamily="2" charset="2"/>
              <a:buNone/>
              <a:defRPr sz="1100" b="0">
                <a:latin typeface="+mn-lt"/>
              </a:defRPr>
            </a:lvl4pPr>
            <a:lvl5pPr marL="854053" indent="0">
              <a:buFont typeface="Wingdings" panose="05000000000000000000" pitchFamily="2" charset="2"/>
              <a:buNone/>
              <a:tabLst/>
              <a:defRPr sz="11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141928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4920067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52105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408146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22356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337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75161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62323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3273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239262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303C25-9E1E-440D-A59A-A6EE34A996A0}"/>
              </a:ext>
            </a:extLst>
          </p:cNvPr>
          <p:cNvPicPr>
            <a:picLocks noChangeAspect="1"/>
          </p:cNvPicPr>
          <p:nvPr userDrawn="1"/>
        </p:nvPicPr>
        <p:blipFill rotWithShape="1">
          <a:blip r:embed="rId2"/>
          <a:srcRect l="17400" t="11806" b="5571"/>
          <a:stretch/>
        </p:blipFill>
        <p:spPr>
          <a:xfrm>
            <a:off x="1" y="487"/>
            <a:ext cx="12192000" cy="6857026"/>
          </a:xfrm>
          <a:prstGeom prst="rect">
            <a:avLst/>
          </a:prstGeom>
        </p:spPr>
      </p:pic>
      <p:sp>
        <p:nvSpPr>
          <p:cNvPr id="10" name="Rectangle 9">
            <a:extLst>
              <a:ext uri="{FF2B5EF4-FFF2-40B4-BE49-F238E27FC236}">
                <a16:creationId xmlns:a16="http://schemas.microsoft.com/office/drawing/2014/main" id="{27F339AB-3387-453C-A13E-54EC1BFC8AB2}"/>
              </a:ext>
            </a:extLst>
          </p:cNvPr>
          <p:cNvSpPr/>
          <p:nvPr userDrawn="1"/>
        </p:nvSpPr>
        <p:spPr bwMode="auto">
          <a:xfrm>
            <a:off x="0" y="973"/>
            <a:ext cx="12192000" cy="6857027"/>
          </a:xfrm>
          <a:prstGeom prst="rect">
            <a:avLst/>
          </a:prstGeom>
          <a:gradFill flip="none" rotWithShape="1">
            <a:gsLst>
              <a:gs pos="70000">
                <a:srgbClr val="8C7862">
                  <a:alpha val="12000"/>
                  <a:lumMod val="49000"/>
                </a:srgbClr>
              </a:gs>
              <a:gs pos="0">
                <a:srgbClr val="3E302A">
                  <a:lumMod val="13000"/>
                  <a:alpha val="7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246F492A-9319-4382-82E8-CD756FE4BB3E}"/>
              </a:ext>
            </a:extLst>
          </p:cNvPr>
          <p:cNvSpPr>
            <a:spLocks noGrp="1"/>
          </p:cNvSpPr>
          <p:nvPr>
            <p:ph type="title" hasCustomPrompt="1"/>
          </p:nvPr>
        </p:nvSpPr>
        <p:spPr>
          <a:xfrm>
            <a:off x="407392" y="1422400"/>
            <a:ext cx="4746500" cy="3400699"/>
          </a:xfrm>
          <a:noFill/>
        </p:spPr>
        <p:txBody>
          <a:bodyPr lIns="0" tIns="0" rIns="0" bIns="182880" anchor="b" anchorCtr="0"/>
          <a:lstStyle>
            <a:lvl1pPr>
              <a:defRPr sz="4000" strike="noStrike" spc="-49" baseline="0">
                <a:solidFill>
                  <a:schemeClr val="bg1"/>
                </a:solidFill>
              </a:defRPr>
            </a:lvl1pPr>
          </a:lstStyle>
          <a:p>
            <a:r>
              <a:rPr lang="en-US"/>
              <a:t>Power Apps presentation title</a:t>
            </a:r>
          </a:p>
        </p:txBody>
      </p:sp>
      <p:sp>
        <p:nvSpPr>
          <p:cNvPr id="12" name="Text Placeholder 10">
            <a:extLst>
              <a:ext uri="{FF2B5EF4-FFF2-40B4-BE49-F238E27FC236}">
                <a16:creationId xmlns:a16="http://schemas.microsoft.com/office/drawing/2014/main" id="{D7FB1D00-9358-40B5-8BF7-3004C4A3E0E3}"/>
              </a:ext>
            </a:extLst>
          </p:cNvPr>
          <p:cNvSpPr>
            <a:spLocks noGrp="1"/>
          </p:cNvSpPr>
          <p:nvPr>
            <p:ph type="body" sz="quarter" idx="15" hasCustomPrompt="1"/>
          </p:nvPr>
        </p:nvSpPr>
        <p:spPr>
          <a:xfrm>
            <a:off x="464842" y="4847661"/>
            <a:ext cx="4746500"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Tree>
    <p:extLst>
      <p:ext uri="{BB962C8B-B14F-4D97-AF65-F5344CB8AC3E}">
        <p14:creationId xmlns:p14="http://schemas.microsoft.com/office/powerpoint/2010/main" val="2431092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22353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590725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611948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02660489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09850250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212312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492113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886472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839520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27279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D51B72-327F-4B5B-B9A3-07FC863BF830}"/>
              </a:ext>
            </a:extLst>
          </p:cNvPr>
          <p:cNvPicPr>
            <a:picLocks noChangeAspect="1"/>
          </p:cNvPicPr>
          <p:nvPr userDrawn="1"/>
        </p:nvPicPr>
        <p:blipFill rotWithShape="1">
          <a:blip r:embed="rId2"/>
          <a:srcRect b="15637"/>
          <a:stretch/>
        </p:blipFill>
        <p:spPr>
          <a:xfrm>
            <a:off x="-1" y="487"/>
            <a:ext cx="12192001" cy="6857027"/>
          </a:xfrm>
          <a:prstGeom prst="rect">
            <a:avLst/>
          </a:prstGeom>
        </p:spPr>
      </p:pic>
      <p:sp>
        <p:nvSpPr>
          <p:cNvPr id="8" name="Rectangle 7">
            <a:extLst>
              <a:ext uri="{FF2B5EF4-FFF2-40B4-BE49-F238E27FC236}">
                <a16:creationId xmlns:a16="http://schemas.microsoft.com/office/drawing/2014/main" id="{67351FC8-E932-439E-A0C4-005EB35D4D08}"/>
              </a:ext>
            </a:extLst>
          </p:cNvPr>
          <p:cNvSpPr/>
          <p:nvPr userDrawn="1"/>
        </p:nvSpPr>
        <p:spPr bwMode="auto">
          <a:xfrm>
            <a:off x="0" y="0"/>
            <a:ext cx="12192000" cy="6857027"/>
          </a:xfrm>
          <a:prstGeom prst="rect">
            <a:avLst/>
          </a:prstGeom>
          <a:gradFill flip="none" rotWithShape="1">
            <a:gsLst>
              <a:gs pos="100000">
                <a:srgbClr val="8C7862">
                  <a:lumMod val="0"/>
                  <a:alpha val="21000"/>
                </a:srgbClr>
              </a:gs>
              <a:gs pos="0">
                <a:srgbClr val="3E302A">
                  <a:lumMod val="13000"/>
                  <a:alpha val="91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5294">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chemeClr val="bg1"/>
                </a:solidFill>
              </a:defRPr>
            </a:lvl1pPr>
          </a:lstStyle>
          <a:p>
            <a:r>
              <a:rPr lang="en-US"/>
              <a:t>Power Apps presentation titl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406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72220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58267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59888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2245549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761748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754832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1626521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331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1313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4094197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233">
              <a:spcAft>
                <a:spcPts val="490"/>
              </a:spcAft>
              <a:buNone/>
              <a:defRPr sz="1765" spc="0" baseline="0">
                <a:solidFill>
                  <a:schemeClr val="tx1"/>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80137162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1358540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53440037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89024520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39339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4753125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818755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43668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2532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030252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5905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622636" y="1672493"/>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819847" y="1882867"/>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705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07" indent="0">
              <a:buNone/>
              <a:defRPr/>
            </a:lvl3pPr>
            <a:lvl4pPr marL="672161" indent="0">
              <a:buNone/>
              <a:defRPr/>
            </a:lvl4pPr>
            <a:lvl5pPr marL="89621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1" b="0" spc="0">
                <a:solidFill>
                  <a:srgbClr val="742774"/>
                </a:solidFill>
                <a:latin typeface="+mj-lt"/>
              </a:defRPr>
            </a:lvl1pPr>
            <a:lvl2pPr marL="0" indent="0">
              <a:lnSpc>
                <a:spcPts val="1765"/>
              </a:lnSpc>
              <a:spcBef>
                <a:spcPts val="0"/>
              </a:spcBef>
              <a:buNone/>
              <a:defRPr sz="1371" spc="0">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07" indent="0">
              <a:buNone/>
              <a:defRPr/>
            </a:lvl3pPr>
            <a:lvl4pPr marL="6721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57992075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23528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69436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144977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8149927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8202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2"/>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2"/>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551848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449" y="619047"/>
            <a:ext cx="455362" cy="455362"/>
          </a:xfrm>
          <a:prstGeom prst="rect">
            <a:avLst/>
          </a:prstGeom>
        </p:spPr>
      </p:pic>
    </p:spTree>
    <p:extLst>
      <p:ext uri="{BB962C8B-B14F-4D97-AF65-F5344CB8AC3E}">
        <p14:creationId xmlns:p14="http://schemas.microsoft.com/office/powerpoint/2010/main" val="3314115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38867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65404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7643777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49521197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313875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3"/>
            </a:solidFill>
          </a:ln>
        </p:spPr>
        <p:txBody>
          <a:bodyPr wrap="square" lIns="182880" tIns="182880" rIns="182880" bIns="182880" anchor="t" anchorCtr="0">
            <a:noAutofit/>
          </a:bodyPr>
          <a:lstStyle>
            <a:lvl1pPr marL="0" indent="0">
              <a:buNone/>
              <a:defRPr sz="1100">
                <a:gradFill>
                  <a:gsLst>
                    <a:gs pos="82000">
                      <a:schemeClr val="accent3"/>
                    </a:gs>
                    <a:gs pos="0">
                      <a:schemeClr val="accent3"/>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3"/>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3"/>
                    </a:gs>
                    <a:gs pos="0">
                      <a:schemeClr val="accent3"/>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13778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39657" y="454050"/>
            <a:ext cx="785356" cy="7853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5724" y="610881"/>
            <a:ext cx="453222" cy="453222"/>
          </a:xfrm>
          <a:prstGeom prst="rect">
            <a:avLst/>
          </a:prstGeom>
        </p:spPr>
      </p:pic>
    </p:spTree>
    <p:extLst>
      <p:ext uri="{BB962C8B-B14F-4D97-AF65-F5344CB8AC3E}">
        <p14:creationId xmlns:p14="http://schemas.microsoft.com/office/powerpoint/2010/main" val="981817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30865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037520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847470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54312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rgbClr val="6A4B16"/>
            </a:solidFill>
          </a:ln>
        </p:spPr>
        <p:txBody>
          <a:bodyPr wrap="square" lIns="182880" tIns="182880" rIns="182880" bIns="182880" anchor="t" anchorCtr="0">
            <a:noAutofit/>
          </a:bodyPr>
          <a:lstStyle>
            <a:lvl1pPr marL="0" indent="0">
              <a:buNone/>
              <a:defRPr sz="1100">
                <a:gradFill>
                  <a:gsLst>
                    <a:gs pos="82000">
                      <a:srgbClr val="6A4B16"/>
                    </a:gs>
                    <a:gs pos="0">
                      <a:srgbClr val="6A4B1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rgbClr val="6A4B16"/>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rgbClr val="6A4B16"/>
                    </a:gs>
                    <a:gs pos="0">
                      <a:srgbClr val="6A4B1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892791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3735" y="618128"/>
            <a:ext cx="457200" cy="457200"/>
          </a:xfrm>
          <a:prstGeom prst="rect">
            <a:avLst/>
          </a:prstGeom>
        </p:spPr>
      </p:pic>
    </p:spTree>
    <p:extLst>
      <p:ext uri="{BB962C8B-B14F-4D97-AF65-F5344CB8AC3E}">
        <p14:creationId xmlns:p14="http://schemas.microsoft.com/office/powerpoint/2010/main" val="2314209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67081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gn="ctr">
              <a:lnSpc>
                <a:spcPts val="3136"/>
              </a:lnSpc>
              <a:defRPr sz="2745">
                <a:solidFill>
                  <a:schemeClr val="tx1"/>
                </a:solidFill>
              </a:defRPr>
            </a:lvl1pPr>
          </a:lstStyle>
          <a:p>
            <a:r>
              <a:rPr lang="en-US"/>
              <a:t>Text option 2: three columns graphic and text</a:t>
            </a:r>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
        <p:nvSpPr>
          <p:cNvPr id="6" name="Content Placeholder 15">
            <a:extLst>
              <a:ext uri="{FF2B5EF4-FFF2-40B4-BE49-F238E27FC236}">
                <a16:creationId xmlns:a16="http://schemas.microsoft.com/office/drawing/2014/main" id="{EEA06E92-94B8-442F-97BB-66C2B42F12D5}"/>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C361B3E2-AD4D-423C-969E-4A6426A268E9}"/>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7ED8A69A-A44A-4883-902F-1BA36A1B4A51}"/>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ext Placeholder 4">
            <a:extLst>
              <a:ext uri="{FF2B5EF4-FFF2-40B4-BE49-F238E27FC236}">
                <a16:creationId xmlns:a16="http://schemas.microsoft.com/office/drawing/2014/main" id="{97534958-622C-4965-9FB0-9361B441A1C0}"/>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449A7043-0027-4B17-8757-EC1847F82846}"/>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ext Placeholder 4">
            <a:extLst>
              <a:ext uri="{FF2B5EF4-FFF2-40B4-BE49-F238E27FC236}">
                <a16:creationId xmlns:a16="http://schemas.microsoft.com/office/drawing/2014/main" id="{52A26499-51E3-4A98-AD74-1A466BBCAA7F}"/>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rgbClr val="742774"/>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3157996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31714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345837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957693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5"/>
            </a:solidFill>
          </a:ln>
        </p:spPr>
        <p:txBody>
          <a:bodyPr wrap="square" lIns="182880" tIns="182880" rIns="182880" bIns="182880" anchor="t" anchorCtr="0">
            <a:noAutofit/>
          </a:bodyPr>
          <a:lstStyle>
            <a:lvl1pPr marL="0" indent="0">
              <a:buNone/>
              <a:defRPr sz="1100">
                <a:gradFill>
                  <a:gsLst>
                    <a:gs pos="82000">
                      <a:schemeClr val="accent5"/>
                    </a:gs>
                    <a:gs pos="0">
                      <a:schemeClr val="accent5"/>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5"/>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5"/>
                    </a:gs>
                    <a:gs pos="0">
                      <a:schemeClr val="accent5"/>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189576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5767" y="630160"/>
            <a:ext cx="457200" cy="457200"/>
          </a:xfrm>
          <a:prstGeom prst="rect">
            <a:avLst/>
          </a:prstGeom>
        </p:spPr>
      </p:pic>
    </p:spTree>
    <p:extLst>
      <p:ext uri="{BB962C8B-B14F-4D97-AF65-F5344CB8AC3E}">
        <p14:creationId xmlns:p14="http://schemas.microsoft.com/office/powerpoint/2010/main" val="22248388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996101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39668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809715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20846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6"/>
            </a:solidFill>
          </a:ln>
        </p:spPr>
        <p:txBody>
          <a:bodyPr wrap="square" lIns="182880" tIns="182880" rIns="182880" bIns="182880" anchor="t" anchorCtr="0">
            <a:noAutofit/>
          </a:bodyPr>
          <a:lstStyle>
            <a:lvl1pPr marL="0" indent="0">
              <a:buNone/>
              <a:defRPr sz="1100">
                <a:gradFill>
                  <a:gsLst>
                    <a:gs pos="82000">
                      <a:schemeClr val="accent6"/>
                    </a:gs>
                    <a:gs pos="0">
                      <a:schemeClr val="accent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6"/>
            </a:solidFill>
          </a:ln>
        </p:spPr>
        <p:txBody>
          <a:bodyPr vert="horz" wrap="square" lIns="182880" tIns="182880" rIns="182880" bIns="182880" rtlCol="0" anchor="b" anchorCtr="0">
            <a:noAutofit/>
          </a:bodyPr>
          <a:lstStyle/>
          <a:p>
            <a:pPr marR="0" lvl="0" indent="0" defTabSz="932742" fontAlgn="auto">
              <a:lnSpc>
                <a:spcPct val="100000"/>
              </a:lnSpc>
              <a:spcBef>
                <a:spcPct val="20000"/>
              </a:spcBef>
              <a:spcAft>
                <a:spcPts val="0"/>
              </a:spcAft>
              <a:buClrTx/>
              <a:buSzPct val="90000"/>
              <a:buFont typeface="Wingdings" panose="05000000000000000000" pitchFamily="2" charset="2"/>
              <a:buNone/>
              <a:tabLst/>
            </a:pPr>
            <a:endParaRPr lang="en-US" sz="11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6"/>
                    </a:gs>
                    <a:gs pos="0">
                      <a:schemeClr val="accent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251672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5.xml"/><Relationship Id="rId21" Type="http://schemas.openxmlformats.org/officeDocument/2006/relationships/slideLayout" Target="../slideLayouts/slideLayout50.xml"/><Relationship Id="rId42" Type="http://schemas.openxmlformats.org/officeDocument/2006/relationships/slideLayout" Target="../slideLayouts/slideLayout71.xml"/><Relationship Id="rId47" Type="http://schemas.openxmlformats.org/officeDocument/2006/relationships/slideLayout" Target="../slideLayouts/slideLayout76.xml"/><Relationship Id="rId63" Type="http://schemas.openxmlformats.org/officeDocument/2006/relationships/slideLayout" Target="../slideLayouts/slideLayout92.xml"/><Relationship Id="rId68" Type="http://schemas.openxmlformats.org/officeDocument/2006/relationships/slideLayout" Target="../slideLayouts/slideLayout97.xml"/><Relationship Id="rId16" Type="http://schemas.openxmlformats.org/officeDocument/2006/relationships/slideLayout" Target="../slideLayouts/slideLayout4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3" Type="http://schemas.openxmlformats.org/officeDocument/2006/relationships/slideLayout" Target="../slideLayouts/slideLayout82.xml"/><Relationship Id="rId58" Type="http://schemas.openxmlformats.org/officeDocument/2006/relationships/slideLayout" Target="../slideLayouts/slideLayout87.xml"/><Relationship Id="rId66" Type="http://schemas.openxmlformats.org/officeDocument/2006/relationships/slideLayout" Target="../slideLayouts/slideLayout95.xml"/><Relationship Id="rId74" Type="http://schemas.openxmlformats.org/officeDocument/2006/relationships/theme" Target="../theme/theme2.xml"/><Relationship Id="rId5" Type="http://schemas.openxmlformats.org/officeDocument/2006/relationships/slideLayout" Target="../slideLayouts/slideLayout34.xml"/><Relationship Id="rId61" Type="http://schemas.openxmlformats.org/officeDocument/2006/relationships/slideLayout" Target="../slideLayouts/slideLayout90.xml"/><Relationship Id="rId19" Type="http://schemas.openxmlformats.org/officeDocument/2006/relationships/slideLayout" Target="../slideLayouts/slideLayout4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48" Type="http://schemas.openxmlformats.org/officeDocument/2006/relationships/slideLayout" Target="../slideLayouts/slideLayout77.xml"/><Relationship Id="rId56" Type="http://schemas.openxmlformats.org/officeDocument/2006/relationships/slideLayout" Target="../slideLayouts/slideLayout85.xml"/><Relationship Id="rId64" Type="http://schemas.openxmlformats.org/officeDocument/2006/relationships/slideLayout" Target="../slideLayouts/slideLayout93.xml"/><Relationship Id="rId69" Type="http://schemas.openxmlformats.org/officeDocument/2006/relationships/slideLayout" Target="../slideLayouts/slideLayout98.xml"/><Relationship Id="rId77" Type="http://schemas.openxmlformats.org/officeDocument/2006/relationships/image" Target="../media/image17.emf"/><Relationship Id="rId8" Type="http://schemas.openxmlformats.org/officeDocument/2006/relationships/slideLayout" Target="../slideLayouts/slideLayout37.xml"/><Relationship Id="rId51" Type="http://schemas.openxmlformats.org/officeDocument/2006/relationships/slideLayout" Target="../slideLayouts/slideLayout80.xml"/><Relationship Id="rId72" Type="http://schemas.openxmlformats.org/officeDocument/2006/relationships/slideLayout" Target="../slideLayouts/slideLayout101.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59" Type="http://schemas.openxmlformats.org/officeDocument/2006/relationships/slideLayout" Target="../slideLayouts/slideLayout88.xml"/><Relationship Id="rId67" Type="http://schemas.openxmlformats.org/officeDocument/2006/relationships/slideLayout" Target="../slideLayouts/slideLayout96.xml"/><Relationship Id="rId20" Type="http://schemas.openxmlformats.org/officeDocument/2006/relationships/slideLayout" Target="../slideLayouts/slideLayout49.xml"/><Relationship Id="rId41" Type="http://schemas.openxmlformats.org/officeDocument/2006/relationships/slideLayout" Target="../slideLayouts/slideLayout70.xml"/><Relationship Id="rId54" Type="http://schemas.openxmlformats.org/officeDocument/2006/relationships/slideLayout" Target="../slideLayouts/slideLayout83.xml"/><Relationship Id="rId62" Type="http://schemas.openxmlformats.org/officeDocument/2006/relationships/slideLayout" Target="../slideLayouts/slideLayout91.xml"/><Relationship Id="rId70" Type="http://schemas.openxmlformats.org/officeDocument/2006/relationships/slideLayout" Target="../slideLayouts/slideLayout99.xml"/><Relationship Id="rId75" Type="http://schemas.openxmlformats.org/officeDocument/2006/relationships/image" Target="../media/image15.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49" Type="http://schemas.openxmlformats.org/officeDocument/2006/relationships/slideLayout" Target="../slideLayouts/slideLayout78.xml"/><Relationship Id="rId57" Type="http://schemas.openxmlformats.org/officeDocument/2006/relationships/slideLayout" Target="../slideLayouts/slideLayout86.xml"/><Relationship Id="rId10" Type="http://schemas.openxmlformats.org/officeDocument/2006/relationships/slideLayout" Target="../slideLayouts/slideLayout39.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52" Type="http://schemas.openxmlformats.org/officeDocument/2006/relationships/slideLayout" Target="../slideLayouts/slideLayout81.xml"/><Relationship Id="rId60" Type="http://schemas.openxmlformats.org/officeDocument/2006/relationships/slideLayout" Target="../slideLayouts/slideLayout89.xml"/><Relationship Id="rId65" Type="http://schemas.openxmlformats.org/officeDocument/2006/relationships/slideLayout" Target="../slideLayouts/slideLayout94.xml"/><Relationship Id="rId73" Type="http://schemas.openxmlformats.org/officeDocument/2006/relationships/slideLayout" Target="../slideLayouts/slideLayout102.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9" Type="http://schemas.openxmlformats.org/officeDocument/2006/relationships/slideLayout" Target="../slideLayouts/slideLayout68.xml"/><Relationship Id="rId34" Type="http://schemas.openxmlformats.org/officeDocument/2006/relationships/slideLayout" Target="../slideLayouts/slideLayout63.xml"/><Relationship Id="rId50" Type="http://schemas.openxmlformats.org/officeDocument/2006/relationships/slideLayout" Target="../slideLayouts/slideLayout79.xml"/><Relationship Id="rId55" Type="http://schemas.openxmlformats.org/officeDocument/2006/relationships/slideLayout" Target="../slideLayouts/slideLayout84.xml"/><Relationship Id="rId76" Type="http://schemas.openxmlformats.org/officeDocument/2006/relationships/image" Target="../media/image16.svg"/><Relationship Id="rId7" Type="http://schemas.openxmlformats.org/officeDocument/2006/relationships/slideLayout" Target="../slideLayouts/slideLayout36.xml"/><Relationship Id="rId71" Type="http://schemas.openxmlformats.org/officeDocument/2006/relationships/slideLayout" Target="../slideLayouts/slideLayout100.xml"/><Relationship Id="rId2" Type="http://schemas.openxmlformats.org/officeDocument/2006/relationships/slideLayout" Target="../slideLayouts/slideLayout31.xml"/><Relationship Id="rId29"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9" Type="http://schemas.openxmlformats.org/officeDocument/2006/relationships/slideLayout" Target="../slideLayouts/slideLayout141.xml"/><Relationship Id="rId21" Type="http://schemas.openxmlformats.org/officeDocument/2006/relationships/slideLayout" Target="../slideLayouts/slideLayout123.xml"/><Relationship Id="rId34" Type="http://schemas.openxmlformats.org/officeDocument/2006/relationships/slideLayout" Target="../slideLayouts/slideLayout136.xml"/><Relationship Id="rId42" Type="http://schemas.openxmlformats.org/officeDocument/2006/relationships/slideLayout" Target="../slideLayouts/slideLayout144.xml"/><Relationship Id="rId47" Type="http://schemas.openxmlformats.org/officeDocument/2006/relationships/slideLayout" Target="../slideLayouts/slideLayout149.xml"/><Relationship Id="rId50" Type="http://schemas.openxmlformats.org/officeDocument/2006/relationships/image" Target="../media/image34.png"/><Relationship Id="rId7" Type="http://schemas.openxmlformats.org/officeDocument/2006/relationships/slideLayout" Target="../slideLayouts/slideLayout10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9" Type="http://schemas.openxmlformats.org/officeDocument/2006/relationships/slideLayout" Target="../slideLayouts/slideLayout131.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40" Type="http://schemas.openxmlformats.org/officeDocument/2006/relationships/slideLayout" Target="../slideLayouts/slideLayout142.xml"/><Relationship Id="rId45" Type="http://schemas.openxmlformats.org/officeDocument/2006/relationships/slideLayout" Target="../slideLayouts/slideLayout147.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49" Type="http://schemas.openxmlformats.org/officeDocument/2006/relationships/theme" Target="../theme/theme3.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slideLayout" Target="../slideLayouts/slideLayout133.xml"/><Relationship Id="rId44" Type="http://schemas.openxmlformats.org/officeDocument/2006/relationships/slideLayout" Target="../slideLayouts/slideLayout146.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43" Type="http://schemas.openxmlformats.org/officeDocument/2006/relationships/slideLayout" Target="../slideLayouts/slideLayout145.xml"/><Relationship Id="rId48" Type="http://schemas.openxmlformats.org/officeDocument/2006/relationships/slideLayout" Target="../slideLayouts/slideLayout150.xml"/><Relationship Id="rId8" Type="http://schemas.openxmlformats.org/officeDocument/2006/relationships/slideLayout" Target="../slideLayouts/slideLayout110.xml"/><Relationship Id="rId3" Type="http://schemas.openxmlformats.org/officeDocument/2006/relationships/slideLayout" Target="../slideLayouts/slideLayout105.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46" Type="http://schemas.openxmlformats.org/officeDocument/2006/relationships/slideLayout" Target="../slideLayouts/slideLayout148.xml"/><Relationship Id="rId20" Type="http://schemas.openxmlformats.org/officeDocument/2006/relationships/slideLayout" Target="../slideLayouts/slideLayout122.xml"/><Relationship Id="rId41" Type="http://schemas.openxmlformats.org/officeDocument/2006/relationships/slideLayout" Target="../slideLayouts/slideLayout143.xml"/><Relationship Id="rId1" Type="http://schemas.openxmlformats.org/officeDocument/2006/relationships/slideLayout" Target="../slideLayouts/slideLayout103.xml"/><Relationship Id="rId6" Type="http://schemas.openxmlformats.org/officeDocument/2006/relationships/slideLayout" Target="../slideLayouts/slideLayout10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theme" Target="../theme/theme4.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5.xml"/><Relationship Id="rId3" Type="http://schemas.openxmlformats.org/officeDocument/2006/relationships/slideLayout" Target="../slideLayouts/slideLayout180.xml"/><Relationship Id="rId7" Type="http://schemas.openxmlformats.org/officeDocument/2006/relationships/slideLayout" Target="../slideLayouts/slideLayout184.xml"/><Relationship Id="rId2" Type="http://schemas.openxmlformats.org/officeDocument/2006/relationships/slideLayout" Target="../slideLayouts/slideLayout179.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5" Type="http://schemas.openxmlformats.org/officeDocument/2006/relationships/slideLayout" Target="../slideLayouts/slideLayout182.xml"/><Relationship Id="rId10" Type="http://schemas.openxmlformats.org/officeDocument/2006/relationships/image" Target="../media/image34.png"/><Relationship Id="rId4" Type="http://schemas.openxmlformats.org/officeDocument/2006/relationships/slideLayout" Target="../slideLayouts/slideLayout181.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image" Target="../media/image34.png"/><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10" Type="http://schemas.openxmlformats.org/officeDocument/2006/relationships/slideLayout" Target="../slideLayouts/slideLayout195.xml"/><Relationship Id="rId19" Type="http://schemas.openxmlformats.org/officeDocument/2006/relationships/theme" Target="../theme/theme6.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29.xml"/><Relationship Id="rId21" Type="http://schemas.openxmlformats.org/officeDocument/2006/relationships/slideLayout" Target="../slideLayouts/slideLayout224.xml"/><Relationship Id="rId42" Type="http://schemas.openxmlformats.org/officeDocument/2006/relationships/slideLayout" Target="../slideLayouts/slideLayout245.xml"/><Relationship Id="rId47" Type="http://schemas.openxmlformats.org/officeDocument/2006/relationships/slideLayout" Target="../slideLayouts/slideLayout250.xml"/><Relationship Id="rId63" Type="http://schemas.openxmlformats.org/officeDocument/2006/relationships/slideLayout" Target="../slideLayouts/slideLayout266.xml"/><Relationship Id="rId68" Type="http://schemas.openxmlformats.org/officeDocument/2006/relationships/slideLayout" Target="../slideLayouts/slideLayout271.xml"/><Relationship Id="rId84" Type="http://schemas.openxmlformats.org/officeDocument/2006/relationships/theme" Target="../theme/theme7.xml"/><Relationship Id="rId16" Type="http://schemas.openxmlformats.org/officeDocument/2006/relationships/slideLayout" Target="../slideLayouts/slideLayout219.xml"/><Relationship Id="rId11" Type="http://schemas.openxmlformats.org/officeDocument/2006/relationships/slideLayout" Target="../slideLayouts/slideLayout214.xml"/><Relationship Id="rId32" Type="http://schemas.openxmlformats.org/officeDocument/2006/relationships/slideLayout" Target="../slideLayouts/slideLayout235.xml"/><Relationship Id="rId37" Type="http://schemas.openxmlformats.org/officeDocument/2006/relationships/slideLayout" Target="../slideLayouts/slideLayout240.xml"/><Relationship Id="rId53" Type="http://schemas.openxmlformats.org/officeDocument/2006/relationships/slideLayout" Target="../slideLayouts/slideLayout256.xml"/><Relationship Id="rId58" Type="http://schemas.openxmlformats.org/officeDocument/2006/relationships/slideLayout" Target="../slideLayouts/slideLayout261.xml"/><Relationship Id="rId74" Type="http://schemas.openxmlformats.org/officeDocument/2006/relationships/slideLayout" Target="../slideLayouts/slideLayout277.xml"/><Relationship Id="rId79" Type="http://schemas.openxmlformats.org/officeDocument/2006/relationships/slideLayout" Target="../slideLayouts/slideLayout282.xml"/><Relationship Id="rId5" Type="http://schemas.openxmlformats.org/officeDocument/2006/relationships/slideLayout" Target="../slideLayouts/slideLayout208.xml"/><Relationship Id="rId19" Type="http://schemas.openxmlformats.org/officeDocument/2006/relationships/slideLayout" Target="../slideLayouts/slideLayout22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slideLayout" Target="../slideLayouts/slideLayout230.xml"/><Relationship Id="rId30" Type="http://schemas.openxmlformats.org/officeDocument/2006/relationships/slideLayout" Target="../slideLayouts/slideLayout233.xml"/><Relationship Id="rId35" Type="http://schemas.openxmlformats.org/officeDocument/2006/relationships/slideLayout" Target="../slideLayouts/slideLayout238.xml"/><Relationship Id="rId43" Type="http://schemas.openxmlformats.org/officeDocument/2006/relationships/slideLayout" Target="../slideLayouts/slideLayout246.xml"/><Relationship Id="rId48" Type="http://schemas.openxmlformats.org/officeDocument/2006/relationships/slideLayout" Target="../slideLayouts/slideLayout251.xml"/><Relationship Id="rId56" Type="http://schemas.openxmlformats.org/officeDocument/2006/relationships/slideLayout" Target="../slideLayouts/slideLayout259.xml"/><Relationship Id="rId64" Type="http://schemas.openxmlformats.org/officeDocument/2006/relationships/slideLayout" Target="../slideLayouts/slideLayout267.xml"/><Relationship Id="rId69" Type="http://schemas.openxmlformats.org/officeDocument/2006/relationships/slideLayout" Target="../slideLayouts/slideLayout272.xml"/><Relationship Id="rId77" Type="http://schemas.openxmlformats.org/officeDocument/2006/relationships/slideLayout" Target="../slideLayouts/slideLayout280.xml"/><Relationship Id="rId8" Type="http://schemas.openxmlformats.org/officeDocument/2006/relationships/slideLayout" Target="../slideLayouts/slideLayout211.xml"/><Relationship Id="rId51" Type="http://schemas.openxmlformats.org/officeDocument/2006/relationships/slideLayout" Target="../slideLayouts/slideLayout254.xml"/><Relationship Id="rId72" Type="http://schemas.openxmlformats.org/officeDocument/2006/relationships/slideLayout" Target="../slideLayouts/slideLayout275.xml"/><Relationship Id="rId80" Type="http://schemas.openxmlformats.org/officeDocument/2006/relationships/slideLayout" Target="../slideLayouts/slideLayout283.xml"/><Relationship Id="rId85" Type="http://schemas.openxmlformats.org/officeDocument/2006/relationships/image" Target="../media/image15.png"/><Relationship Id="rId3" Type="http://schemas.openxmlformats.org/officeDocument/2006/relationships/slideLayout" Target="../slideLayouts/slideLayout206.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33" Type="http://schemas.openxmlformats.org/officeDocument/2006/relationships/slideLayout" Target="../slideLayouts/slideLayout236.xml"/><Relationship Id="rId38" Type="http://schemas.openxmlformats.org/officeDocument/2006/relationships/slideLayout" Target="../slideLayouts/slideLayout241.xml"/><Relationship Id="rId46" Type="http://schemas.openxmlformats.org/officeDocument/2006/relationships/slideLayout" Target="../slideLayouts/slideLayout249.xml"/><Relationship Id="rId59" Type="http://schemas.openxmlformats.org/officeDocument/2006/relationships/slideLayout" Target="../slideLayouts/slideLayout262.xml"/><Relationship Id="rId67" Type="http://schemas.openxmlformats.org/officeDocument/2006/relationships/slideLayout" Target="../slideLayouts/slideLayout270.xml"/><Relationship Id="rId20" Type="http://schemas.openxmlformats.org/officeDocument/2006/relationships/slideLayout" Target="../slideLayouts/slideLayout223.xml"/><Relationship Id="rId41" Type="http://schemas.openxmlformats.org/officeDocument/2006/relationships/slideLayout" Target="../slideLayouts/slideLayout244.xml"/><Relationship Id="rId54" Type="http://schemas.openxmlformats.org/officeDocument/2006/relationships/slideLayout" Target="../slideLayouts/slideLayout257.xml"/><Relationship Id="rId62" Type="http://schemas.openxmlformats.org/officeDocument/2006/relationships/slideLayout" Target="../slideLayouts/slideLayout265.xml"/><Relationship Id="rId70" Type="http://schemas.openxmlformats.org/officeDocument/2006/relationships/slideLayout" Target="../slideLayouts/slideLayout273.xml"/><Relationship Id="rId75" Type="http://schemas.openxmlformats.org/officeDocument/2006/relationships/slideLayout" Target="../slideLayouts/slideLayout278.xml"/><Relationship Id="rId83" Type="http://schemas.openxmlformats.org/officeDocument/2006/relationships/slideLayout" Target="../slideLayouts/slideLayout286.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slideLayout" Target="../slideLayouts/slideLayout231.xml"/><Relationship Id="rId36" Type="http://schemas.openxmlformats.org/officeDocument/2006/relationships/slideLayout" Target="../slideLayouts/slideLayout239.xml"/><Relationship Id="rId49" Type="http://schemas.openxmlformats.org/officeDocument/2006/relationships/slideLayout" Target="../slideLayouts/slideLayout252.xml"/><Relationship Id="rId57" Type="http://schemas.openxmlformats.org/officeDocument/2006/relationships/slideLayout" Target="../slideLayouts/slideLayout260.xml"/><Relationship Id="rId10" Type="http://schemas.openxmlformats.org/officeDocument/2006/relationships/slideLayout" Target="../slideLayouts/slideLayout213.xml"/><Relationship Id="rId31" Type="http://schemas.openxmlformats.org/officeDocument/2006/relationships/slideLayout" Target="../slideLayouts/slideLayout234.xml"/><Relationship Id="rId44" Type="http://schemas.openxmlformats.org/officeDocument/2006/relationships/slideLayout" Target="../slideLayouts/slideLayout247.xml"/><Relationship Id="rId52" Type="http://schemas.openxmlformats.org/officeDocument/2006/relationships/slideLayout" Target="../slideLayouts/slideLayout255.xml"/><Relationship Id="rId60" Type="http://schemas.openxmlformats.org/officeDocument/2006/relationships/slideLayout" Target="../slideLayouts/slideLayout263.xml"/><Relationship Id="rId65" Type="http://schemas.openxmlformats.org/officeDocument/2006/relationships/slideLayout" Target="../slideLayouts/slideLayout268.xml"/><Relationship Id="rId73" Type="http://schemas.openxmlformats.org/officeDocument/2006/relationships/slideLayout" Target="../slideLayouts/slideLayout276.xml"/><Relationship Id="rId78" Type="http://schemas.openxmlformats.org/officeDocument/2006/relationships/slideLayout" Target="../slideLayouts/slideLayout281.xml"/><Relationship Id="rId81" Type="http://schemas.openxmlformats.org/officeDocument/2006/relationships/slideLayout" Target="../slideLayouts/slideLayout284.xml"/><Relationship Id="rId86" Type="http://schemas.openxmlformats.org/officeDocument/2006/relationships/image" Target="../media/image16.svg"/><Relationship Id="rId4" Type="http://schemas.openxmlformats.org/officeDocument/2006/relationships/slideLayout" Target="../slideLayouts/slideLayout207.xml"/><Relationship Id="rId9" Type="http://schemas.openxmlformats.org/officeDocument/2006/relationships/slideLayout" Target="../slideLayouts/slideLayout212.xml"/><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39" Type="http://schemas.openxmlformats.org/officeDocument/2006/relationships/slideLayout" Target="../slideLayouts/slideLayout242.xml"/><Relationship Id="rId34" Type="http://schemas.openxmlformats.org/officeDocument/2006/relationships/slideLayout" Target="../slideLayouts/slideLayout237.xml"/><Relationship Id="rId50" Type="http://schemas.openxmlformats.org/officeDocument/2006/relationships/slideLayout" Target="../slideLayouts/slideLayout253.xml"/><Relationship Id="rId55" Type="http://schemas.openxmlformats.org/officeDocument/2006/relationships/slideLayout" Target="../slideLayouts/slideLayout258.xml"/><Relationship Id="rId76" Type="http://schemas.openxmlformats.org/officeDocument/2006/relationships/slideLayout" Target="../slideLayouts/slideLayout279.xml"/><Relationship Id="rId7" Type="http://schemas.openxmlformats.org/officeDocument/2006/relationships/slideLayout" Target="../slideLayouts/slideLayout210.xml"/><Relationship Id="rId71" Type="http://schemas.openxmlformats.org/officeDocument/2006/relationships/slideLayout" Target="../slideLayouts/slideLayout274.xml"/><Relationship Id="rId2" Type="http://schemas.openxmlformats.org/officeDocument/2006/relationships/slideLayout" Target="../slideLayouts/slideLayout205.xml"/><Relationship Id="rId29" Type="http://schemas.openxmlformats.org/officeDocument/2006/relationships/slideLayout" Target="../slideLayouts/slideLayout232.xml"/><Relationship Id="rId24" Type="http://schemas.openxmlformats.org/officeDocument/2006/relationships/slideLayout" Target="../slideLayouts/slideLayout227.xml"/><Relationship Id="rId40" Type="http://schemas.openxmlformats.org/officeDocument/2006/relationships/slideLayout" Target="../slideLayouts/slideLayout243.xml"/><Relationship Id="rId45" Type="http://schemas.openxmlformats.org/officeDocument/2006/relationships/slideLayout" Target="../slideLayouts/slideLayout248.xml"/><Relationship Id="rId66" Type="http://schemas.openxmlformats.org/officeDocument/2006/relationships/slideLayout" Target="../slideLayouts/slideLayout269.xml"/><Relationship Id="rId87" Type="http://schemas.openxmlformats.org/officeDocument/2006/relationships/image" Target="../media/image17.emf"/><Relationship Id="rId61" Type="http://schemas.openxmlformats.org/officeDocument/2006/relationships/slideLayout" Target="../slideLayouts/slideLayout264.xml"/><Relationship Id="rId82" Type="http://schemas.openxmlformats.org/officeDocument/2006/relationships/slideLayout" Target="../slideLayouts/slideLayout2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18" Type="http://schemas.openxmlformats.org/officeDocument/2006/relationships/slideLayout" Target="../slideLayouts/slideLayout304.xml"/><Relationship Id="rId3" Type="http://schemas.openxmlformats.org/officeDocument/2006/relationships/slideLayout" Target="../slideLayouts/slideLayout289.xml"/><Relationship Id="rId21" Type="http://schemas.openxmlformats.org/officeDocument/2006/relationships/theme" Target="../theme/theme8.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17" Type="http://schemas.openxmlformats.org/officeDocument/2006/relationships/slideLayout" Target="../slideLayouts/slideLayout303.xml"/><Relationship Id="rId2" Type="http://schemas.openxmlformats.org/officeDocument/2006/relationships/slideLayout" Target="../slideLayouts/slideLayout288.xml"/><Relationship Id="rId16" Type="http://schemas.openxmlformats.org/officeDocument/2006/relationships/slideLayout" Target="../slideLayouts/slideLayout302.xml"/><Relationship Id="rId20" Type="http://schemas.openxmlformats.org/officeDocument/2006/relationships/slideLayout" Target="../slideLayouts/slideLayout306.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5" Type="http://schemas.openxmlformats.org/officeDocument/2006/relationships/slideLayout" Target="../slideLayouts/slideLayout291.xml"/><Relationship Id="rId15" Type="http://schemas.openxmlformats.org/officeDocument/2006/relationships/slideLayout" Target="../slideLayouts/slideLayout301.xml"/><Relationship Id="rId23" Type="http://schemas.openxmlformats.org/officeDocument/2006/relationships/image" Target="../media/image81.png"/><Relationship Id="rId10" Type="http://schemas.openxmlformats.org/officeDocument/2006/relationships/slideLayout" Target="../slideLayouts/slideLayout296.xml"/><Relationship Id="rId19" Type="http://schemas.openxmlformats.org/officeDocument/2006/relationships/slideLayout" Target="../slideLayouts/slideLayout305.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 Id="rId22" Type="http://schemas.openxmlformats.org/officeDocument/2006/relationships/image" Target="../media/image80.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grpSp>
        <p:nvGrpSpPr>
          <p:cNvPr id="6" name="Group 5">
            <a:extLst>
              <a:ext uri="{FF2B5EF4-FFF2-40B4-BE49-F238E27FC236}">
                <a16:creationId xmlns:a16="http://schemas.microsoft.com/office/drawing/2014/main" id="{511D5BED-55A5-A54B-B107-CD3CFEA4C481}"/>
              </a:ext>
            </a:extLst>
          </p:cNvPr>
          <p:cNvGrpSpPr/>
          <p:nvPr userDrawn="1"/>
        </p:nvGrpSpPr>
        <p:grpSpPr>
          <a:xfrm rot="5400000">
            <a:off x="9309997" y="3018171"/>
            <a:ext cx="6858000" cy="821662"/>
            <a:chOff x="465138" y="4389919"/>
            <a:chExt cx="11534450" cy="1963738"/>
          </a:xfrm>
        </p:grpSpPr>
        <p:sp>
          <p:nvSpPr>
            <p:cNvPr id="7" name="Rectangle 6">
              <a:extLst>
                <a:ext uri="{FF2B5EF4-FFF2-40B4-BE49-F238E27FC236}">
                  <a16:creationId xmlns:a16="http://schemas.microsoft.com/office/drawing/2014/main" id="{55D62223-FAB1-1E4A-B3E0-6C7A89FCE9DB}"/>
                </a:ext>
              </a:extLst>
            </p:cNvPr>
            <p:cNvSpPr/>
            <p:nvPr/>
          </p:nvSpPr>
          <p:spPr bwMode="auto">
            <a:xfrm>
              <a:off x="465138" y="4389919"/>
              <a:ext cx="3924300" cy="1963738"/>
            </a:xfrm>
            <a:prstGeom prst="rect">
              <a:avLst/>
            </a:prstGeom>
            <a:solidFill>
              <a:schemeClr val="bg1"/>
            </a:solidFill>
            <a:ln w="6350">
              <a:solidFill>
                <a:schemeClr val="accent1">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White</a:t>
              </a:r>
            </a:p>
            <a:p>
              <a:pPr defTabSz="914102" fontAlgn="base">
                <a:spcBef>
                  <a:spcPct val="0"/>
                </a:spcBef>
                <a:spcAft>
                  <a:spcPts val="98"/>
                </a:spcAft>
              </a:pPr>
              <a:r>
                <a:rPr lang="en-US" sz="784">
                  <a:solidFill>
                    <a:schemeClr val="tx1"/>
                  </a:solidFill>
                  <a:ea typeface="Segoe UI" pitchFamily="34" charset="0"/>
                  <a:cs typeface="Segoe UI" pitchFamily="34" charset="0"/>
                </a:rPr>
                <a:t>R255 G255 B255</a:t>
              </a:r>
            </a:p>
            <a:p>
              <a:pPr defTabSz="914102" fontAlgn="base">
                <a:spcBef>
                  <a:spcPct val="0"/>
                </a:spcBef>
                <a:spcAft>
                  <a:spcPts val="98"/>
                </a:spcAft>
              </a:pPr>
              <a:r>
                <a:rPr lang="en-US" sz="784">
                  <a:solidFill>
                    <a:schemeClr val="tx1"/>
                  </a:solidFill>
                  <a:ea typeface="Segoe UI" pitchFamily="34" charset="0"/>
                  <a:cs typeface="Segoe UI" pitchFamily="34" charset="0"/>
                </a:rPr>
                <a:t>Hex #</a:t>
              </a:r>
              <a:r>
                <a:rPr lang="en-US" sz="784" err="1">
                  <a:solidFill>
                    <a:schemeClr val="tx1"/>
                  </a:solidFill>
                  <a:ea typeface="Segoe UI" pitchFamily="34" charset="0"/>
                  <a:cs typeface="Segoe UI" pitchFamily="34" charset="0"/>
                </a:rPr>
                <a:t>ffffff</a:t>
              </a:r>
              <a:endParaRPr lang="en-US" sz="784">
                <a:solidFill>
                  <a:schemeClr val="tx1"/>
                </a:solidFill>
                <a:ea typeface="Segoe UI" pitchFamily="34" charset="0"/>
                <a:cs typeface="Segoe UI" pitchFamily="34" charset="0"/>
              </a:endParaRPr>
            </a:p>
            <a:p>
              <a:pPr defTabSz="914102" fontAlgn="base">
                <a:spcBef>
                  <a:spcPct val="0"/>
                </a:spcBef>
                <a:spcAft>
                  <a:spcPts val="98"/>
                </a:spcAft>
              </a:pPr>
              <a:r>
                <a:rPr lang="en-US" sz="784">
                  <a:solidFill>
                    <a:schemeClr val="tx1"/>
                  </a:solidFill>
                  <a:ea typeface="Segoe UI" pitchFamily="34" charset="0"/>
                  <a:cs typeface="Segoe UI" pitchFamily="34" charset="0"/>
                </a:rPr>
                <a:t>C0 M0 Y0 K0</a:t>
              </a:r>
            </a:p>
          </p:txBody>
        </p:sp>
        <p:sp>
          <p:nvSpPr>
            <p:cNvPr id="8" name="Rectangle 7">
              <a:extLst>
                <a:ext uri="{FF2B5EF4-FFF2-40B4-BE49-F238E27FC236}">
                  <a16:creationId xmlns:a16="http://schemas.microsoft.com/office/drawing/2014/main" id="{02CE70B1-36F1-054F-A28C-29FCE5254562}"/>
                </a:ext>
              </a:extLst>
            </p:cNvPr>
            <p:cNvSpPr/>
            <p:nvPr/>
          </p:nvSpPr>
          <p:spPr bwMode="auto">
            <a:xfrm>
              <a:off x="4389438" y="4389920"/>
              <a:ext cx="2541309" cy="10663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Light Gray</a:t>
              </a:r>
            </a:p>
            <a:p>
              <a:pPr defTabSz="914102" fontAlgn="base">
                <a:spcBef>
                  <a:spcPct val="0"/>
                </a:spcBef>
                <a:spcAft>
                  <a:spcPts val="98"/>
                </a:spcAft>
              </a:pPr>
              <a:r>
                <a:rPr lang="en-US" sz="784">
                  <a:solidFill>
                    <a:schemeClr val="tx1"/>
                  </a:solidFill>
                  <a:ea typeface="Segoe UI" pitchFamily="34" charset="0"/>
                  <a:cs typeface="Segoe UI" pitchFamily="34" charset="0"/>
                </a:rPr>
                <a:t>R235 G235 B235</a:t>
              </a:r>
            </a:p>
          </p:txBody>
        </p:sp>
        <p:sp>
          <p:nvSpPr>
            <p:cNvPr id="9" name="Rectangle 8">
              <a:extLst>
                <a:ext uri="{FF2B5EF4-FFF2-40B4-BE49-F238E27FC236}">
                  <a16:creationId xmlns:a16="http://schemas.microsoft.com/office/drawing/2014/main" id="{AFC7ECD4-4170-914C-BE1E-B652016E3564}"/>
                </a:ext>
              </a:extLst>
            </p:cNvPr>
            <p:cNvSpPr/>
            <p:nvPr/>
          </p:nvSpPr>
          <p:spPr bwMode="auto">
            <a:xfrm>
              <a:off x="6930748" y="4389920"/>
              <a:ext cx="2542854" cy="10663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Medium Gray </a:t>
              </a:r>
            </a:p>
            <a:p>
              <a:pPr defTabSz="914102" fontAlgn="base">
                <a:spcBef>
                  <a:spcPct val="0"/>
                </a:spcBef>
                <a:spcAft>
                  <a:spcPts val="98"/>
                </a:spcAft>
              </a:pPr>
              <a:r>
                <a:rPr lang="en-US" sz="784">
                  <a:solidFill>
                    <a:schemeClr val="bg2"/>
                  </a:solidFill>
                  <a:ea typeface="Segoe UI" pitchFamily="34" charset="0"/>
                  <a:cs typeface="Segoe UI" pitchFamily="34" charset="0"/>
                </a:rPr>
                <a:t>R117 G117 B122</a:t>
              </a:r>
            </a:p>
          </p:txBody>
        </p:sp>
        <p:sp>
          <p:nvSpPr>
            <p:cNvPr id="10" name="Rectangle 9">
              <a:extLst>
                <a:ext uri="{FF2B5EF4-FFF2-40B4-BE49-F238E27FC236}">
                  <a16:creationId xmlns:a16="http://schemas.microsoft.com/office/drawing/2014/main" id="{80716815-79AA-7A44-A718-D31CD7CDF408}"/>
                </a:ext>
              </a:extLst>
            </p:cNvPr>
            <p:cNvSpPr/>
            <p:nvPr/>
          </p:nvSpPr>
          <p:spPr bwMode="auto">
            <a:xfrm>
              <a:off x="9473603" y="4389920"/>
              <a:ext cx="2524722" cy="10663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Dark Gray</a:t>
              </a:r>
            </a:p>
            <a:p>
              <a:pPr defTabSz="914102" fontAlgn="base">
                <a:spcBef>
                  <a:spcPct val="0"/>
                </a:spcBef>
                <a:spcAft>
                  <a:spcPts val="98"/>
                </a:spcAft>
              </a:pPr>
              <a:r>
                <a:rPr lang="en-US" sz="784">
                  <a:solidFill>
                    <a:schemeClr val="bg2"/>
                  </a:solidFill>
                  <a:ea typeface="Segoe UI" pitchFamily="34" charset="0"/>
                  <a:cs typeface="Segoe UI" pitchFamily="34" charset="0"/>
                </a:rPr>
                <a:t>R60 G60 B65</a:t>
              </a:r>
            </a:p>
          </p:txBody>
        </p:sp>
        <p:sp>
          <p:nvSpPr>
            <p:cNvPr id="11" name="Rectangle 10">
              <a:extLst>
                <a:ext uri="{FF2B5EF4-FFF2-40B4-BE49-F238E27FC236}">
                  <a16:creationId xmlns:a16="http://schemas.microsoft.com/office/drawing/2014/main" id="{E4442D23-8CBA-7A43-8435-AA56C886BD99}"/>
                </a:ext>
              </a:extLst>
            </p:cNvPr>
            <p:cNvSpPr/>
            <p:nvPr/>
          </p:nvSpPr>
          <p:spPr bwMode="auto">
            <a:xfrm>
              <a:off x="4387893" y="5456304"/>
              <a:ext cx="2540329" cy="897353"/>
            </a:xfrm>
            <a:prstGeom prst="rect">
              <a:avLst/>
            </a:prstGeom>
            <a:solidFill>
              <a:srgbClr val="F2C8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Power BI</a:t>
              </a:r>
            </a:p>
            <a:p>
              <a:pPr defTabSz="914102" fontAlgn="base">
                <a:spcBef>
                  <a:spcPct val="0"/>
                </a:spcBef>
                <a:spcAft>
                  <a:spcPts val="98"/>
                </a:spcAft>
              </a:pPr>
              <a:r>
                <a:rPr lang="en-US" sz="784">
                  <a:solidFill>
                    <a:schemeClr val="tx1"/>
                  </a:solidFill>
                  <a:ea typeface="Segoe UI" pitchFamily="34" charset="0"/>
                  <a:cs typeface="Segoe UI" pitchFamily="34" charset="0"/>
                </a:rPr>
                <a:t>R242 G200 B16</a:t>
              </a:r>
            </a:p>
          </p:txBody>
        </p:sp>
        <p:sp>
          <p:nvSpPr>
            <p:cNvPr id="12" name="Rectangle 11">
              <a:extLst>
                <a:ext uri="{FF2B5EF4-FFF2-40B4-BE49-F238E27FC236}">
                  <a16:creationId xmlns:a16="http://schemas.microsoft.com/office/drawing/2014/main" id="{64F53114-F016-D740-B25D-66ABE874E0E8}"/>
                </a:ext>
              </a:extLst>
            </p:cNvPr>
            <p:cNvSpPr/>
            <p:nvPr/>
          </p:nvSpPr>
          <p:spPr bwMode="auto">
            <a:xfrm>
              <a:off x="6929485" y="5456304"/>
              <a:ext cx="2542854" cy="897353"/>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1"/>
                  </a:solidFill>
                  <a:ea typeface="Segoe UI" pitchFamily="34" charset="0"/>
                  <a:cs typeface="Segoe UI" pitchFamily="34" charset="0"/>
                </a:rPr>
                <a:t>PowerApps</a:t>
              </a:r>
            </a:p>
            <a:p>
              <a:pPr defTabSz="914102" fontAlgn="base">
                <a:spcBef>
                  <a:spcPct val="0"/>
                </a:spcBef>
                <a:spcAft>
                  <a:spcPts val="98"/>
                </a:spcAft>
              </a:pPr>
              <a:r>
                <a:rPr lang="en-US" sz="784">
                  <a:solidFill>
                    <a:schemeClr val="bg1"/>
                  </a:solidFill>
                  <a:ea typeface="Segoe UI" pitchFamily="34" charset="0"/>
                  <a:cs typeface="Segoe UI" pitchFamily="34" charset="0"/>
                </a:rPr>
                <a:t>R116 G39 B116</a:t>
              </a:r>
            </a:p>
          </p:txBody>
        </p:sp>
        <p:sp>
          <p:nvSpPr>
            <p:cNvPr id="13" name="Rectangle 12">
              <a:extLst>
                <a:ext uri="{FF2B5EF4-FFF2-40B4-BE49-F238E27FC236}">
                  <a16:creationId xmlns:a16="http://schemas.microsoft.com/office/drawing/2014/main" id="{2AC84A12-82FB-364C-B32B-CB767711C1AD}"/>
                </a:ext>
              </a:extLst>
            </p:cNvPr>
            <p:cNvSpPr/>
            <p:nvPr/>
          </p:nvSpPr>
          <p:spPr bwMode="auto">
            <a:xfrm>
              <a:off x="9473602" y="5456304"/>
              <a:ext cx="2525986" cy="897353"/>
            </a:xfrm>
            <a:prstGeom prst="rect">
              <a:avLst/>
            </a:prstGeom>
            <a:solidFill>
              <a:srgbClr val="007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Flow</a:t>
              </a:r>
            </a:p>
            <a:p>
              <a:pPr defTabSz="914102" fontAlgn="base">
                <a:spcBef>
                  <a:spcPct val="0"/>
                </a:spcBef>
                <a:spcAft>
                  <a:spcPts val="98"/>
                </a:spcAft>
              </a:pPr>
              <a:r>
                <a:rPr lang="en-US" sz="784">
                  <a:solidFill>
                    <a:schemeClr val="bg2"/>
                  </a:solidFill>
                  <a:ea typeface="Segoe UI" pitchFamily="34" charset="0"/>
                  <a:cs typeface="Segoe UI" pitchFamily="34" charset="0"/>
                </a:rPr>
                <a:t>R0 G119 B255</a:t>
              </a:r>
            </a:p>
          </p:txBody>
        </p:sp>
      </p:grpSp>
    </p:spTree>
    <p:extLst>
      <p:ext uri="{BB962C8B-B14F-4D97-AF65-F5344CB8AC3E}">
        <p14:creationId xmlns:p14="http://schemas.microsoft.com/office/powerpoint/2010/main" val="36141644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701" r:id="rId5"/>
    <p:sldLayoutId id="2147483666" r:id="rId6"/>
    <p:sldLayoutId id="2147483667" r:id="rId7"/>
    <p:sldLayoutId id="2147483668" r:id="rId8"/>
    <p:sldLayoutId id="2147483669" r:id="rId9"/>
    <p:sldLayoutId id="2147483670" r:id="rId10"/>
    <p:sldLayoutId id="2147483671" r:id="rId11"/>
    <p:sldLayoutId id="2147483672" r:id="rId12"/>
    <p:sldLayoutId id="2147483708" r:id="rId13"/>
    <p:sldLayoutId id="2147483673" r:id="rId14"/>
    <p:sldLayoutId id="2147483707" r:id="rId15"/>
    <p:sldLayoutId id="2147483702" r:id="rId16"/>
    <p:sldLayoutId id="2147483703" r:id="rId17"/>
    <p:sldLayoutId id="2147483678" r:id="rId18"/>
    <p:sldLayoutId id="2147483679" r:id="rId19"/>
    <p:sldLayoutId id="2147483680" r:id="rId20"/>
    <p:sldLayoutId id="2147483681" r:id="rId21"/>
    <p:sldLayoutId id="2147483682" r:id="rId22"/>
    <p:sldLayoutId id="2147483705" r:id="rId23"/>
    <p:sldLayoutId id="2147483706" r:id="rId24"/>
    <p:sldLayoutId id="2147483683" r:id="rId25"/>
    <p:sldLayoutId id="2147483709" r:id="rId26"/>
    <p:sldLayoutId id="2147483711" r:id="rId27"/>
    <p:sldLayoutId id="2147483793" r:id="rId28"/>
    <p:sldLayoutId id="2147483794" r:id="rId29"/>
  </p:sldLayoutIdLst>
  <p:transition>
    <p:fade/>
  </p:transition>
  <p:hf sldNum="0"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33866463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 id="2147483748" r:id="rId35"/>
    <p:sldLayoutId id="2147483749" r:id="rId36"/>
    <p:sldLayoutId id="2147483750" r:id="rId37"/>
    <p:sldLayoutId id="2147483751" r:id="rId38"/>
    <p:sldLayoutId id="2147483752" r:id="rId39"/>
    <p:sldLayoutId id="2147483753" r:id="rId40"/>
    <p:sldLayoutId id="2147483754" r:id="rId41"/>
    <p:sldLayoutId id="2147483755" r:id="rId42"/>
    <p:sldLayoutId id="2147483756" r:id="rId43"/>
    <p:sldLayoutId id="2147483757" r:id="rId44"/>
    <p:sldLayoutId id="2147483758" r:id="rId45"/>
    <p:sldLayoutId id="2147483759" r:id="rId46"/>
    <p:sldLayoutId id="2147483760" r:id="rId47"/>
    <p:sldLayoutId id="2147483761" r:id="rId48"/>
    <p:sldLayoutId id="2147483762" r:id="rId49"/>
    <p:sldLayoutId id="2147483763" r:id="rId50"/>
    <p:sldLayoutId id="2147483764" r:id="rId51"/>
    <p:sldLayoutId id="2147483765" r:id="rId52"/>
    <p:sldLayoutId id="2147483766" r:id="rId53"/>
    <p:sldLayoutId id="2147483767" r:id="rId54"/>
    <p:sldLayoutId id="2147483768" r:id="rId55"/>
    <p:sldLayoutId id="2147483769" r:id="rId56"/>
    <p:sldLayoutId id="2147483770" r:id="rId57"/>
    <p:sldLayoutId id="2147483771" r:id="rId58"/>
    <p:sldLayoutId id="2147483772" r:id="rId59"/>
    <p:sldLayoutId id="2147483773" r:id="rId60"/>
    <p:sldLayoutId id="2147483774" r:id="rId61"/>
    <p:sldLayoutId id="2147483775" r:id="rId62"/>
    <p:sldLayoutId id="2147483776" r:id="rId63"/>
    <p:sldLayoutId id="2147483777" r:id="rId64"/>
    <p:sldLayoutId id="2147483778" r:id="rId65"/>
    <p:sldLayoutId id="2147483779" r:id="rId66"/>
    <p:sldLayoutId id="2147483780" r:id="rId67"/>
    <p:sldLayoutId id="2147483781" r:id="rId68"/>
    <p:sldLayoutId id="2147483782" r:id="rId69"/>
    <p:sldLayoutId id="2147483783" r:id="rId70"/>
    <p:sldLayoutId id="2147483784" r:id="rId71"/>
    <p:sldLayoutId id="2147483785" r:id="rId72"/>
    <p:sldLayoutId id="2147483786"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50" cstate="email">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942439261"/>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13" r:id="rId18"/>
    <p:sldLayoutId id="2147483814" r:id="rId19"/>
    <p:sldLayoutId id="2147483815" r:id="rId20"/>
    <p:sldLayoutId id="2147483816" r:id="rId21"/>
    <p:sldLayoutId id="2147483817" r:id="rId22"/>
    <p:sldLayoutId id="2147483818" r:id="rId23"/>
    <p:sldLayoutId id="2147483819" r:id="rId24"/>
    <p:sldLayoutId id="2147483820" r:id="rId25"/>
    <p:sldLayoutId id="2147483821" r:id="rId26"/>
    <p:sldLayoutId id="2147483822" r:id="rId27"/>
    <p:sldLayoutId id="2147483823" r:id="rId28"/>
    <p:sldLayoutId id="2147483824" r:id="rId29"/>
    <p:sldLayoutId id="2147483825" r:id="rId30"/>
    <p:sldLayoutId id="2147483826" r:id="rId31"/>
    <p:sldLayoutId id="2147483827" r:id="rId32"/>
    <p:sldLayoutId id="2147483828" r:id="rId33"/>
    <p:sldLayoutId id="2147483829" r:id="rId34"/>
    <p:sldLayoutId id="2147483830" r:id="rId35"/>
    <p:sldLayoutId id="2147483831" r:id="rId36"/>
    <p:sldLayoutId id="2147483832" r:id="rId37"/>
    <p:sldLayoutId id="2147483833" r:id="rId38"/>
    <p:sldLayoutId id="2147483834" r:id="rId39"/>
    <p:sldLayoutId id="2147483835" r:id="rId40"/>
    <p:sldLayoutId id="2147483836" r:id="rId41"/>
    <p:sldLayoutId id="2147483837" r:id="rId42"/>
    <p:sldLayoutId id="2147483838" r:id="rId43"/>
    <p:sldLayoutId id="2147483839" r:id="rId44"/>
    <p:sldLayoutId id="2147483840" r:id="rId45"/>
    <p:sldLayoutId id="2147483841" r:id="rId46"/>
    <p:sldLayoutId id="2147483887" r:id="rId47"/>
    <p:sldLayoutId id="2147484018" r:id="rId48"/>
  </p:sldLayoutIdLst>
  <p:transition>
    <p:fade/>
  </p:transition>
  <p:hf sldNum="0"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556383"/>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1"/>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grpSp>
        <p:nvGrpSpPr>
          <p:cNvPr id="6" name="Group 5">
            <a:extLst>
              <a:ext uri="{FF2B5EF4-FFF2-40B4-BE49-F238E27FC236}">
                <a16:creationId xmlns:a16="http://schemas.microsoft.com/office/drawing/2014/main" id="{511D5BED-55A5-A54B-B107-CD3CFEA4C481}"/>
              </a:ext>
            </a:extLst>
          </p:cNvPr>
          <p:cNvGrpSpPr/>
          <p:nvPr userDrawn="1"/>
        </p:nvGrpSpPr>
        <p:grpSpPr>
          <a:xfrm rot="5400000">
            <a:off x="9309998" y="3018171"/>
            <a:ext cx="6858000" cy="821662"/>
            <a:chOff x="465138" y="4389919"/>
            <a:chExt cx="11534450" cy="1963738"/>
          </a:xfrm>
        </p:grpSpPr>
        <p:sp>
          <p:nvSpPr>
            <p:cNvPr id="7" name="Rectangle 6">
              <a:extLst>
                <a:ext uri="{FF2B5EF4-FFF2-40B4-BE49-F238E27FC236}">
                  <a16:creationId xmlns:a16="http://schemas.microsoft.com/office/drawing/2014/main" id="{55D62223-FAB1-1E4A-B3E0-6C7A89FCE9DB}"/>
                </a:ext>
              </a:extLst>
            </p:cNvPr>
            <p:cNvSpPr/>
            <p:nvPr/>
          </p:nvSpPr>
          <p:spPr bwMode="auto">
            <a:xfrm>
              <a:off x="465138" y="4389919"/>
              <a:ext cx="3924300" cy="1963738"/>
            </a:xfrm>
            <a:prstGeom prst="rect">
              <a:avLst/>
            </a:prstGeom>
            <a:solidFill>
              <a:schemeClr val="bg1"/>
            </a:solidFill>
            <a:ln w="6350">
              <a:solidFill>
                <a:schemeClr val="accent1">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tx1"/>
                  </a:solidFill>
                  <a:ea typeface="Segoe UI" pitchFamily="34" charset="0"/>
                  <a:cs typeface="Segoe UI" pitchFamily="34" charset="0"/>
                </a:rPr>
                <a:t>White</a:t>
              </a:r>
            </a:p>
            <a:p>
              <a:pPr defTabSz="913927" fontAlgn="base">
                <a:spcBef>
                  <a:spcPct val="0"/>
                </a:spcBef>
                <a:spcAft>
                  <a:spcPts val="98"/>
                </a:spcAft>
              </a:pPr>
              <a:r>
                <a:rPr lang="en-US" sz="784">
                  <a:solidFill>
                    <a:schemeClr val="tx1"/>
                  </a:solidFill>
                  <a:ea typeface="Segoe UI" pitchFamily="34" charset="0"/>
                  <a:cs typeface="Segoe UI" pitchFamily="34" charset="0"/>
                </a:rPr>
                <a:t>R255 G255 B255</a:t>
              </a:r>
            </a:p>
            <a:p>
              <a:pPr defTabSz="913927" fontAlgn="base">
                <a:spcBef>
                  <a:spcPct val="0"/>
                </a:spcBef>
                <a:spcAft>
                  <a:spcPts val="98"/>
                </a:spcAft>
              </a:pPr>
              <a:r>
                <a:rPr lang="en-US" sz="784">
                  <a:solidFill>
                    <a:schemeClr val="tx1"/>
                  </a:solidFill>
                  <a:ea typeface="Segoe UI" pitchFamily="34" charset="0"/>
                  <a:cs typeface="Segoe UI" pitchFamily="34" charset="0"/>
                </a:rPr>
                <a:t>Hex #</a:t>
              </a:r>
              <a:r>
                <a:rPr lang="en-US" sz="784" err="1">
                  <a:solidFill>
                    <a:schemeClr val="tx1"/>
                  </a:solidFill>
                  <a:ea typeface="Segoe UI" pitchFamily="34" charset="0"/>
                  <a:cs typeface="Segoe UI" pitchFamily="34" charset="0"/>
                </a:rPr>
                <a:t>ffffff</a:t>
              </a:r>
              <a:endParaRPr lang="en-US" sz="784">
                <a:solidFill>
                  <a:schemeClr val="tx1"/>
                </a:solidFill>
                <a:ea typeface="Segoe UI" pitchFamily="34" charset="0"/>
                <a:cs typeface="Segoe UI" pitchFamily="34" charset="0"/>
              </a:endParaRPr>
            </a:p>
            <a:p>
              <a:pPr defTabSz="913927" fontAlgn="base">
                <a:spcBef>
                  <a:spcPct val="0"/>
                </a:spcBef>
                <a:spcAft>
                  <a:spcPts val="98"/>
                </a:spcAft>
              </a:pPr>
              <a:r>
                <a:rPr lang="en-US" sz="784">
                  <a:solidFill>
                    <a:schemeClr val="tx1"/>
                  </a:solidFill>
                  <a:ea typeface="Segoe UI" pitchFamily="34" charset="0"/>
                  <a:cs typeface="Segoe UI" pitchFamily="34" charset="0"/>
                </a:rPr>
                <a:t>C0 M0 Y0 K0</a:t>
              </a:r>
            </a:p>
          </p:txBody>
        </p:sp>
        <p:sp>
          <p:nvSpPr>
            <p:cNvPr id="8" name="Rectangle 7">
              <a:extLst>
                <a:ext uri="{FF2B5EF4-FFF2-40B4-BE49-F238E27FC236}">
                  <a16:creationId xmlns:a16="http://schemas.microsoft.com/office/drawing/2014/main" id="{02CE70B1-36F1-054F-A28C-29FCE5254562}"/>
                </a:ext>
              </a:extLst>
            </p:cNvPr>
            <p:cNvSpPr/>
            <p:nvPr/>
          </p:nvSpPr>
          <p:spPr bwMode="auto">
            <a:xfrm>
              <a:off x="4389438" y="4389920"/>
              <a:ext cx="2541309" cy="10663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tx1"/>
                  </a:solidFill>
                  <a:ea typeface="Segoe UI" pitchFamily="34" charset="0"/>
                  <a:cs typeface="Segoe UI" pitchFamily="34" charset="0"/>
                </a:rPr>
                <a:t>Light Gray</a:t>
              </a:r>
            </a:p>
            <a:p>
              <a:pPr defTabSz="913927" fontAlgn="base">
                <a:spcBef>
                  <a:spcPct val="0"/>
                </a:spcBef>
                <a:spcAft>
                  <a:spcPts val="98"/>
                </a:spcAft>
              </a:pPr>
              <a:r>
                <a:rPr lang="en-US" sz="784">
                  <a:solidFill>
                    <a:schemeClr val="tx1"/>
                  </a:solidFill>
                  <a:ea typeface="Segoe UI" pitchFamily="34" charset="0"/>
                  <a:cs typeface="Segoe UI" pitchFamily="34" charset="0"/>
                </a:rPr>
                <a:t>R235 G235 B235</a:t>
              </a:r>
            </a:p>
          </p:txBody>
        </p:sp>
        <p:sp>
          <p:nvSpPr>
            <p:cNvPr id="9" name="Rectangle 8">
              <a:extLst>
                <a:ext uri="{FF2B5EF4-FFF2-40B4-BE49-F238E27FC236}">
                  <a16:creationId xmlns:a16="http://schemas.microsoft.com/office/drawing/2014/main" id="{AFC7ECD4-4170-914C-BE1E-B652016E3564}"/>
                </a:ext>
              </a:extLst>
            </p:cNvPr>
            <p:cNvSpPr/>
            <p:nvPr/>
          </p:nvSpPr>
          <p:spPr bwMode="auto">
            <a:xfrm>
              <a:off x="6930748" y="4389920"/>
              <a:ext cx="2542854" cy="10663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2"/>
                  </a:solidFill>
                  <a:ea typeface="Segoe UI" pitchFamily="34" charset="0"/>
                  <a:cs typeface="Segoe UI" pitchFamily="34" charset="0"/>
                </a:rPr>
                <a:t>Medium Gray </a:t>
              </a:r>
            </a:p>
            <a:p>
              <a:pPr defTabSz="913927" fontAlgn="base">
                <a:spcBef>
                  <a:spcPct val="0"/>
                </a:spcBef>
                <a:spcAft>
                  <a:spcPts val="98"/>
                </a:spcAft>
              </a:pPr>
              <a:r>
                <a:rPr lang="en-US" sz="784">
                  <a:solidFill>
                    <a:schemeClr val="bg2"/>
                  </a:solidFill>
                  <a:ea typeface="Segoe UI" pitchFamily="34" charset="0"/>
                  <a:cs typeface="Segoe UI" pitchFamily="34" charset="0"/>
                </a:rPr>
                <a:t>R117 G117 B122</a:t>
              </a:r>
            </a:p>
          </p:txBody>
        </p:sp>
        <p:sp>
          <p:nvSpPr>
            <p:cNvPr id="10" name="Rectangle 9">
              <a:extLst>
                <a:ext uri="{FF2B5EF4-FFF2-40B4-BE49-F238E27FC236}">
                  <a16:creationId xmlns:a16="http://schemas.microsoft.com/office/drawing/2014/main" id="{80716815-79AA-7A44-A718-D31CD7CDF408}"/>
                </a:ext>
              </a:extLst>
            </p:cNvPr>
            <p:cNvSpPr/>
            <p:nvPr/>
          </p:nvSpPr>
          <p:spPr bwMode="auto">
            <a:xfrm>
              <a:off x="9473603" y="4389920"/>
              <a:ext cx="2524722" cy="10663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2"/>
                  </a:solidFill>
                  <a:ea typeface="Segoe UI" pitchFamily="34" charset="0"/>
                  <a:cs typeface="Segoe UI" pitchFamily="34" charset="0"/>
                </a:rPr>
                <a:t>Dark Gray</a:t>
              </a:r>
            </a:p>
            <a:p>
              <a:pPr defTabSz="913927" fontAlgn="base">
                <a:spcBef>
                  <a:spcPct val="0"/>
                </a:spcBef>
                <a:spcAft>
                  <a:spcPts val="98"/>
                </a:spcAft>
              </a:pPr>
              <a:r>
                <a:rPr lang="en-US" sz="784">
                  <a:solidFill>
                    <a:schemeClr val="bg2"/>
                  </a:solidFill>
                  <a:ea typeface="Segoe UI" pitchFamily="34" charset="0"/>
                  <a:cs typeface="Segoe UI" pitchFamily="34" charset="0"/>
                </a:rPr>
                <a:t>R60 G60 B65</a:t>
              </a:r>
            </a:p>
          </p:txBody>
        </p:sp>
        <p:sp>
          <p:nvSpPr>
            <p:cNvPr id="11" name="Rectangle 10">
              <a:extLst>
                <a:ext uri="{FF2B5EF4-FFF2-40B4-BE49-F238E27FC236}">
                  <a16:creationId xmlns:a16="http://schemas.microsoft.com/office/drawing/2014/main" id="{E4442D23-8CBA-7A43-8435-AA56C886BD99}"/>
                </a:ext>
              </a:extLst>
            </p:cNvPr>
            <p:cNvSpPr/>
            <p:nvPr/>
          </p:nvSpPr>
          <p:spPr bwMode="auto">
            <a:xfrm>
              <a:off x="4387893" y="5456304"/>
              <a:ext cx="2540329" cy="897353"/>
            </a:xfrm>
            <a:prstGeom prst="rect">
              <a:avLst/>
            </a:prstGeom>
            <a:solidFill>
              <a:srgbClr val="F2C8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tx1"/>
                  </a:solidFill>
                  <a:ea typeface="Segoe UI" pitchFamily="34" charset="0"/>
                  <a:cs typeface="Segoe UI" pitchFamily="34" charset="0"/>
                </a:rPr>
                <a:t>Power BI</a:t>
              </a:r>
            </a:p>
            <a:p>
              <a:pPr defTabSz="913927" fontAlgn="base">
                <a:spcBef>
                  <a:spcPct val="0"/>
                </a:spcBef>
                <a:spcAft>
                  <a:spcPts val="98"/>
                </a:spcAft>
              </a:pPr>
              <a:r>
                <a:rPr lang="en-US" sz="784">
                  <a:solidFill>
                    <a:schemeClr val="tx1"/>
                  </a:solidFill>
                  <a:ea typeface="Segoe UI" pitchFamily="34" charset="0"/>
                  <a:cs typeface="Segoe UI" pitchFamily="34" charset="0"/>
                </a:rPr>
                <a:t>R242 G200 B16</a:t>
              </a:r>
            </a:p>
          </p:txBody>
        </p:sp>
        <p:sp>
          <p:nvSpPr>
            <p:cNvPr id="12" name="Rectangle 11">
              <a:extLst>
                <a:ext uri="{FF2B5EF4-FFF2-40B4-BE49-F238E27FC236}">
                  <a16:creationId xmlns:a16="http://schemas.microsoft.com/office/drawing/2014/main" id="{64F53114-F016-D740-B25D-66ABE874E0E8}"/>
                </a:ext>
              </a:extLst>
            </p:cNvPr>
            <p:cNvSpPr/>
            <p:nvPr/>
          </p:nvSpPr>
          <p:spPr bwMode="auto">
            <a:xfrm>
              <a:off x="6929485" y="5456304"/>
              <a:ext cx="2542854" cy="897353"/>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1"/>
                  </a:solidFill>
                  <a:ea typeface="Segoe UI" pitchFamily="34" charset="0"/>
                  <a:cs typeface="Segoe UI" pitchFamily="34" charset="0"/>
                </a:rPr>
                <a:t>Power Apps</a:t>
              </a:r>
            </a:p>
            <a:p>
              <a:pPr defTabSz="913927" fontAlgn="base">
                <a:spcBef>
                  <a:spcPct val="0"/>
                </a:spcBef>
                <a:spcAft>
                  <a:spcPts val="98"/>
                </a:spcAft>
              </a:pPr>
              <a:r>
                <a:rPr lang="en-US" sz="784">
                  <a:solidFill>
                    <a:schemeClr val="bg1"/>
                  </a:solidFill>
                  <a:ea typeface="Segoe UI" pitchFamily="34" charset="0"/>
                  <a:cs typeface="Segoe UI" pitchFamily="34" charset="0"/>
                </a:rPr>
                <a:t>R116 G39 B116</a:t>
              </a:r>
            </a:p>
          </p:txBody>
        </p:sp>
        <p:sp>
          <p:nvSpPr>
            <p:cNvPr id="13" name="Rectangle 12">
              <a:extLst>
                <a:ext uri="{FF2B5EF4-FFF2-40B4-BE49-F238E27FC236}">
                  <a16:creationId xmlns:a16="http://schemas.microsoft.com/office/drawing/2014/main" id="{2AC84A12-82FB-364C-B32B-CB767711C1AD}"/>
                </a:ext>
              </a:extLst>
            </p:cNvPr>
            <p:cNvSpPr/>
            <p:nvPr/>
          </p:nvSpPr>
          <p:spPr bwMode="auto">
            <a:xfrm>
              <a:off x="9473602" y="5456304"/>
              <a:ext cx="2525986" cy="897353"/>
            </a:xfrm>
            <a:prstGeom prst="rect">
              <a:avLst/>
            </a:prstGeom>
            <a:solidFill>
              <a:srgbClr val="007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3927" fontAlgn="base">
                <a:spcBef>
                  <a:spcPct val="0"/>
                </a:spcBef>
                <a:spcAft>
                  <a:spcPts val="98"/>
                </a:spcAft>
              </a:pPr>
              <a:r>
                <a:rPr lang="en-US" sz="784" b="1">
                  <a:solidFill>
                    <a:schemeClr val="bg2"/>
                  </a:solidFill>
                  <a:ea typeface="Segoe UI" pitchFamily="34" charset="0"/>
                  <a:cs typeface="Segoe UI" pitchFamily="34" charset="0"/>
                </a:rPr>
                <a:t>Power Automate</a:t>
              </a:r>
            </a:p>
            <a:p>
              <a:pPr defTabSz="913927" fontAlgn="base">
                <a:spcBef>
                  <a:spcPct val="0"/>
                </a:spcBef>
                <a:spcAft>
                  <a:spcPts val="98"/>
                </a:spcAft>
              </a:pPr>
              <a:r>
                <a:rPr lang="en-US" sz="784">
                  <a:solidFill>
                    <a:schemeClr val="bg2"/>
                  </a:solidFill>
                  <a:ea typeface="Segoe UI" pitchFamily="34" charset="0"/>
                  <a:cs typeface="Segoe UI" pitchFamily="34" charset="0"/>
                </a:rPr>
                <a:t>R0 G119 B255</a:t>
              </a:r>
            </a:p>
          </p:txBody>
        </p:sp>
      </p:grpSp>
    </p:spTree>
    <p:extLst>
      <p:ext uri="{BB962C8B-B14F-4D97-AF65-F5344CB8AC3E}">
        <p14:creationId xmlns:p14="http://schemas.microsoft.com/office/powerpoint/2010/main" val="107787738"/>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Lst>
  <p:transition>
    <p:fade/>
  </p:transition>
  <p:hf sldNum="0"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174" b="1" kern="1200" spc="0" baseline="0">
          <a:solidFill>
            <a:schemeClr val="tx1"/>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1174"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10"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702323649"/>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9" y="465139"/>
            <a:ext cx="11269662" cy="905062"/>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17559"/>
            <a:ext cx="11269663"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0"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650919431"/>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6" r:id="rId16"/>
    <p:sldLayoutId id="2147483907" r:id="rId17"/>
    <p:sldLayoutId id="2147483908" r:id="rId18"/>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88">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9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guide id="55" pos="739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5" cstate="print">
              <a:extLst>
                <a:ext uri="{28A0092B-C50C-407E-A947-70E740481C1C}">
                  <a14:useLocalDpi xmlns:a14="http://schemas.microsoft.com/office/drawing/2010/main"/>
                </a:ext>
                <a:ext uri="{96DAC541-7B7A-43D3-8B79-37D633B846F1}">
                  <asvg:svgBlip xmlns:asvg="http://schemas.microsoft.com/office/drawing/2016/SVG/main" r:embed="rId8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7" cstate="print">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799795859"/>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 id="2147483935" r:id="rId26"/>
    <p:sldLayoutId id="2147483936" r:id="rId27"/>
    <p:sldLayoutId id="2147483937" r:id="rId28"/>
    <p:sldLayoutId id="2147483938" r:id="rId29"/>
    <p:sldLayoutId id="2147483939" r:id="rId30"/>
    <p:sldLayoutId id="2147483940" r:id="rId31"/>
    <p:sldLayoutId id="2147483941" r:id="rId32"/>
    <p:sldLayoutId id="2147483942" r:id="rId33"/>
    <p:sldLayoutId id="2147483943" r:id="rId34"/>
    <p:sldLayoutId id="2147483944" r:id="rId35"/>
    <p:sldLayoutId id="2147483945" r:id="rId36"/>
    <p:sldLayoutId id="2147483946" r:id="rId37"/>
    <p:sldLayoutId id="2147483947" r:id="rId38"/>
    <p:sldLayoutId id="2147483948" r:id="rId39"/>
    <p:sldLayoutId id="2147483949" r:id="rId40"/>
    <p:sldLayoutId id="2147483950" r:id="rId41"/>
    <p:sldLayoutId id="2147483951" r:id="rId42"/>
    <p:sldLayoutId id="2147483952" r:id="rId43"/>
    <p:sldLayoutId id="2147483953" r:id="rId44"/>
    <p:sldLayoutId id="2147483954" r:id="rId45"/>
    <p:sldLayoutId id="2147483955" r:id="rId46"/>
    <p:sldLayoutId id="2147483956" r:id="rId47"/>
    <p:sldLayoutId id="2147483957" r:id="rId48"/>
    <p:sldLayoutId id="2147483958" r:id="rId49"/>
    <p:sldLayoutId id="2147483959" r:id="rId50"/>
    <p:sldLayoutId id="2147483960" r:id="rId51"/>
    <p:sldLayoutId id="2147483961" r:id="rId52"/>
    <p:sldLayoutId id="2147483962" r:id="rId53"/>
    <p:sldLayoutId id="2147483963" r:id="rId54"/>
    <p:sldLayoutId id="2147483964" r:id="rId55"/>
    <p:sldLayoutId id="2147483965" r:id="rId56"/>
    <p:sldLayoutId id="2147483966" r:id="rId57"/>
    <p:sldLayoutId id="2147483967" r:id="rId58"/>
    <p:sldLayoutId id="2147483968" r:id="rId59"/>
    <p:sldLayoutId id="2147483969" r:id="rId60"/>
    <p:sldLayoutId id="2147483970" r:id="rId61"/>
    <p:sldLayoutId id="2147483971" r:id="rId62"/>
    <p:sldLayoutId id="2147483972" r:id="rId63"/>
    <p:sldLayoutId id="2147483973" r:id="rId64"/>
    <p:sldLayoutId id="2147483974" r:id="rId65"/>
    <p:sldLayoutId id="2147483975" r:id="rId66"/>
    <p:sldLayoutId id="2147483976" r:id="rId67"/>
    <p:sldLayoutId id="2147483977" r:id="rId68"/>
    <p:sldLayoutId id="2147483978" r:id="rId69"/>
    <p:sldLayoutId id="2147483979" r:id="rId70"/>
    <p:sldLayoutId id="2147483980" r:id="rId71"/>
    <p:sldLayoutId id="2147483981" r:id="rId72"/>
    <p:sldLayoutId id="2147483982" r:id="rId73"/>
    <p:sldLayoutId id="2147483983" r:id="rId74"/>
    <p:sldLayoutId id="2147483984" r:id="rId75"/>
    <p:sldLayoutId id="2147483985" r:id="rId76"/>
    <p:sldLayoutId id="2147483986" r:id="rId77"/>
    <p:sldLayoutId id="2147483987" r:id="rId78"/>
    <p:sldLayoutId id="2147483989" r:id="rId79"/>
    <p:sldLayoutId id="2147483990" r:id="rId80"/>
    <p:sldLayoutId id="2147483991" r:id="rId81"/>
    <p:sldLayoutId id="2147483993" r:id="rId82"/>
    <p:sldLayoutId id="2147483994" r:id="rId8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50" y="589920"/>
            <a:ext cx="10943853" cy="74401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642751" y="1866615"/>
            <a:ext cx="10943853" cy="1167847"/>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88818" y="3012080"/>
            <a:ext cx="6858623" cy="833219"/>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039879" y="3221595"/>
            <a:ext cx="6858000" cy="414812"/>
          </a:xfrm>
          <a:prstGeom prst="rect">
            <a:avLst/>
          </a:prstGeom>
        </p:spPr>
      </p:pic>
      <p:grpSp>
        <p:nvGrpSpPr>
          <p:cNvPr id="6" name="Group 5">
            <a:extLst>
              <a:ext uri="{FF2B5EF4-FFF2-40B4-BE49-F238E27FC236}">
                <a16:creationId xmlns:a16="http://schemas.microsoft.com/office/drawing/2014/main" id="{5A533A81-DEDD-44BB-B83E-296588BC1AF7}"/>
              </a:ext>
            </a:extLst>
          </p:cNvPr>
          <p:cNvGrpSpPr/>
          <p:nvPr userDrawn="1"/>
        </p:nvGrpSpPr>
        <p:grpSpPr>
          <a:xfrm>
            <a:off x="1" y="-909004"/>
            <a:ext cx="5204244" cy="744013"/>
            <a:chOff x="0" y="-927100"/>
            <a:chExt cx="5308600" cy="758825"/>
          </a:xfrm>
        </p:grpSpPr>
        <p:sp>
          <p:nvSpPr>
            <p:cNvPr id="3" name="Rectangle 2">
              <a:extLst>
                <a:ext uri="{FF2B5EF4-FFF2-40B4-BE49-F238E27FC236}">
                  <a16:creationId xmlns:a16="http://schemas.microsoft.com/office/drawing/2014/main" id="{304BE229-7033-4DFF-A0B7-C80B4AB0A087}"/>
                </a:ext>
              </a:extLst>
            </p:cNvPr>
            <p:cNvSpPr/>
            <p:nvPr userDrawn="1"/>
          </p:nvSpPr>
          <p:spPr bwMode="auto">
            <a:xfrm>
              <a:off x="0" y="-927100"/>
              <a:ext cx="1651000" cy="75882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923092C5-6DD9-40C6-8ED7-2B7DD79ECF1F}"/>
                </a:ext>
              </a:extLst>
            </p:cNvPr>
            <p:cNvSpPr/>
            <p:nvPr userDrawn="1"/>
          </p:nvSpPr>
          <p:spPr bwMode="auto">
            <a:xfrm>
              <a:off x="1828800" y="-927100"/>
              <a:ext cx="1651000" cy="758825"/>
            </a:xfrm>
            <a:prstGeom prst="rect">
              <a:avLst/>
            </a:pr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8B91A4B-8C77-4411-8BDD-27B9F7097A96}"/>
                </a:ext>
              </a:extLst>
            </p:cNvPr>
            <p:cNvSpPr/>
            <p:nvPr userDrawn="1"/>
          </p:nvSpPr>
          <p:spPr bwMode="auto">
            <a:xfrm>
              <a:off x="3657600" y="-927100"/>
              <a:ext cx="1651000" cy="758825"/>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69825234"/>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4" r:id="rId8"/>
    <p:sldLayoutId id="2147484005" r:id="rId9"/>
    <p:sldLayoutId id="2147484006" r:id="rId10"/>
    <p:sldLayoutId id="2147484007"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Lst>
  <p:transition>
    <p:fade/>
  </p:transition>
  <p:txStyles>
    <p:titleStyle>
      <a:lvl1pPr algn="l" defTabSz="914437" rtl="0" eaLnBrk="1" latinLnBrk="0" hangingPunct="1">
        <a:lnSpc>
          <a:spcPct val="90000"/>
        </a:lnSpc>
        <a:spcBef>
          <a:spcPct val="0"/>
        </a:spcBef>
        <a:buNone/>
        <a:defRPr lang="en-US" sz="2745"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2353" kern="1200" spc="0" baseline="0">
          <a:solidFill>
            <a:srgbClr val="000000"/>
          </a:solidFill>
          <a:latin typeface="+mn-lt"/>
          <a:ea typeface="+mn-ea"/>
          <a:cs typeface="+mn-cs"/>
        </a:defRPr>
      </a:lvl1pPr>
      <a:lvl2pPr marL="224114"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227"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342"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455" marR="0" indent="0" algn="l" defTabSz="91443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F26B43"/>
          </p15:clr>
        </p15:guide>
        <p15:guide id="17" pos="7469">
          <p15:clr>
            <a:srgbClr val="F26B43"/>
          </p15:clr>
        </p15:guide>
        <p15:guide id="25" orient="horz" pos="379">
          <p15:clr>
            <a:srgbClr val="F26B43"/>
          </p15:clr>
        </p15:guide>
        <p15:guide id="26" orient="horz" pos="402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xml"/><Relationship Id="rId1" Type="http://schemas.openxmlformats.org/officeDocument/2006/relationships/slideLayout" Target="../slideLayouts/slideLayout14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0.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8" Type="http://schemas.openxmlformats.org/officeDocument/2006/relationships/image" Target="../media/image95.emf"/><Relationship Id="rId3" Type="http://schemas.openxmlformats.org/officeDocument/2006/relationships/image" Target="../media/image90.png"/><Relationship Id="rId7" Type="http://schemas.openxmlformats.org/officeDocument/2006/relationships/image" Target="../media/image94.emf"/><Relationship Id="rId2" Type="http://schemas.openxmlformats.org/officeDocument/2006/relationships/notesSlide" Target="../notesSlides/notesSlide3.xml"/><Relationship Id="rId1" Type="http://schemas.openxmlformats.org/officeDocument/2006/relationships/slideLayout" Target="../slideLayouts/slideLayout114.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 Id="rId9" Type="http://schemas.openxmlformats.org/officeDocument/2006/relationships/image" Target="../media/image96.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Diamond 19">
            <a:extLst>
              <a:ext uri="{FF2B5EF4-FFF2-40B4-BE49-F238E27FC236}">
                <a16:creationId xmlns:a16="http://schemas.microsoft.com/office/drawing/2014/main" id="{2AC56785-D94E-4935-A7F4-E098E54AD388}"/>
              </a:ext>
            </a:extLst>
          </p:cNvPr>
          <p:cNvSpPr/>
          <p:nvPr/>
        </p:nvSpPr>
        <p:spPr bwMode="auto">
          <a:xfrm>
            <a:off x="7784538" y="998207"/>
            <a:ext cx="6520864" cy="6520864"/>
          </a:xfrm>
          <a:prstGeom prst="diamond">
            <a:avLst/>
          </a:prstGeom>
          <a:noFill/>
          <a:ln w="6350">
            <a:solidFill>
              <a:srgbClr val="1919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21" name="Diamond 20">
            <a:extLst>
              <a:ext uri="{FF2B5EF4-FFF2-40B4-BE49-F238E27FC236}">
                <a16:creationId xmlns:a16="http://schemas.microsoft.com/office/drawing/2014/main" id="{9BEF1953-B1CB-4BD3-9B40-AF9D3418CD6F}"/>
              </a:ext>
            </a:extLst>
          </p:cNvPr>
          <p:cNvSpPr/>
          <p:nvPr/>
        </p:nvSpPr>
        <p:spPr bwMode="auto">
          <a:xfrm>
            <a:off x="8655956" y="431352"/>
            <a:ext cx="3548744" cy="3548744"/>
          </a:xfrm>
          <a:prstGeom prst="diamond">
            <a:avLst/>
          </a:prstGeom>
          <a:solidFill>
            <a:schemeClr val="bg1"/>
          </a:solid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pic>
        <p:nvPicPr>
          <p:cNvPr id="55" name="Picture 54">
            <a:extLst>
              <a:ext uri="{FF2B5EF4-FFF2-40B4-BE49-F238E27FC236}">
                <a16:creationId xmlns:a16="http://schemas.microsoft.com/office/drawing/2014/main" id="{7EA4A0A8-43AA-4FB9-8228-008D5E13959F}"/>
              </a:ext>
            </a:extLst>
          </p:cNvPr>
          <p:cNvPicPr>
            <a:picLocks noChangeAspect="1"/>
          </p:cNvPicPr>
          <p:nvPr/>
        </p:nvPicPr>
        <p:blipFill rotWithShape="1">
          <a:blip r:embed="rId3"/>
          <a:srcRect l="45535" t="55516" r="9323"/>
          <a:stretch/>
        </p:blipFill>
        <p:spPr>
          <a:xfrm>
            <a:off x="9985622" y="3746294"/>
            <a:ext cx="4740028" cy="3111706"/>
          </a:xfrm>
          <a:custGeom>
            <a:avLst/>
            <a:gdLst>
              <a:gd name="connsiteX0" fmla="*/ 2370014 w 4740028"/>
              <a:gd name="connsiteY0" fmla="*/ 0 h 3111706"/>
              <a:gd name="connsiteX1" fmla="*/ 4740028 w 4740028"/>
              <a:gd name="connsiteY1" fmla="*/ 2370014 h 3111706"/>
              <a:gd name="connsiteX2" fmla="*/ 3998336 w 4740028"/>
              <a:gd name="connsiteY2" fmla="*/ 3111706 h 3111706"/>
              <a:gd name="connsiteX3" fmla="*/ 741692 w 4740028"/>
              <a:gd name="connsiteY3" fmla="*/ 3111706 h 3111706"/>
              <a:gd name="connsiteX4" fmla="*/ 0 w 4740028"/>
              <a:gd name="connsiteY4" fmla="*/ 2370014 h 3111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3111706">
                <a:moveTo>
                  <a:pt x="2370014" y="0"/>
                </a:moveTo>
                <a:lnTo>
                  <a:pt x="4740028" y="2370014"/>
                </a:lnTo>
                <a:lnTo>
                  <a:pt x="3998336" y="3111706"/>
                </a:lnTo>
                <a:lnTo>
                  <a:pt x="741692" y="3111706"/>
                </a:lnTo>
                <a:lnTo>
                  <a:pt x="0" y="2370014"/>
                </a:lnTo>
                <a:close/>
              </a:path>
            </a:pathLst>
          </a:custGeom>
        </p:spPr>
      </p:pic>
      <p:pic>
        <p:nvPicPr>
          <p:cNvPr id="53" name="Picture 52">
            <a:extLst>
              <a:ext uri="{FF2B5EF4-FFF2-40B4-BE49-F238E27FC236}">
                <a16:creationId xmlns:a16="http://schemas.microsoft.com/office/drawing/2014/main" id="{5037E5F7-E27F-4B6E-82AE-3843F8865266}"/>
              </a:ext>
            </a:extLst>
          </p:cNvPr>
          <p:cNvPicPr>
            <a:picLocks noChangeAspect="1"/>
          </p:cNvPicPr>
          <p:nvPr/>
        </p:nvPicPr>
        <p:blipFill rotWithShape="1">
          <a:blip r:embed="rId3"/>
          <a:srcRect l="45535" t="1961" r="9323" b="45906"/>
          <a:stretch/>
        </p:blipFill>
        <p:spPr>
          <a:xfrm>
            <a:off x="9985622" y="0"/>
            <a:ext cx="4740028" cy="3646830"/>
          </a:xfrm>
          <a:custGeom>
            <a:avLst/>
            <a:gdLst>
              <a:gd name="connsiteX0" fmla="*/ 1276816 w 4740028"/>
              <a:gd name="connsiteY0" fmla="*/ 0 h 3646830"/>
              <a:gd name="connsiteX1" fmla="*/ 3463212 w 4740028"/>
              <a:gd name="connsiteY1" fmla="*/ 0 h 3646830"/>
              <a:gd name="connsiteX2" fmla="*/ 4740028 w 4740028"/>
              <a:gd name="connsiteY2" fmla="*/ 1276816 h 3646830"/>
              <a:gd name="connsiteX3" fmla="*/ 2370014 w 4740028"/>
              <a:gd name="connsiteY3" fmla="*/ 3646830 h 3646830"/>
              <a:gd name="connsiteX4" fmla="*/ 0 w 4740028"/>
              <a:gd name="connsiteY4" fmla="*/ 1276816 h 3646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3646830">
                <a:moveTo>
                  <a:pt x="1276816" y="0"/>
                </a:moveTo>
                <a:lnTo>
                  <a:pt x="3463212" y="0"/>
                </a:lnTo>
                <a:lnTo>
                  <a:pt x="4740028" y="1276816"/>
                </a:lnTo>
                <a:lnTo>
                  <a:pt x="2370014" y="3646830"/>
                </a:lnTo>
                <a:lnTo>
                  <a:pt x="0" y="1276816"/>
                </a:lnTo>
                <a:close/>
              </a:path>
            </a:pathLst>
          </a:custGeom>
        </p:spPr>
      </p:pic>
      <p:pic>
        <p:nvPicPr>
          <p:cNvPr id="51" name="Picture 50">
            <a:extLst>
              <a:ext uri="{FF2B5EF4-FFF2-40B4-BE49-F238E27FC236}">
                <a16:creationId xmlns:a16="http://schemas.microsoft.com/office/drawing/2014/main" id="{873FB677-0806-4865-8356-7D4ECCAB4A33}"/>
              </a:ext>
            </a:extLst>
          </p:cNvPr>
          <p:cNvPicPr>
            <a:picLocks noChangeAspect="1"/>
          </p:cNvPicPr>
          <p:nvPr/>
        </p:nvPicPr>
        <p:blipFill rotWithShape="1">
          <a:blip r:embed="rId3"/>
          <a:srcRect l="22557" t="20909" r="32301" b="11329"/>
          <a:stretch/>
        </p:blipFill>
        <p:spPr>
          <a:xfrm>
            <a:off x="7572828" y="1325478"/>
            <a:ext cx="4740028" cy="4740028"/>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Lst>
            <a:ahLst/>
            <a:cxnLst>
              <a:cxn ang="0">
                <a:pos x="connsiteX0" y="connsiteY0"/>
              </a:cxn>
              <a:cxn ang="0">
                <a:pos x="connsiteX1" y="connsiteY1"/>
              </a:cxn>
              <a:cxn ang="0">
                <a:pos x="connsiteX2" y="connsiteY2"/>
              </a:cxn>
              <a:cxn ang="0">
                <a:pos x="connsiteX3" y="connsiteY3"/>
              </a:cxn>
            </a:cxnLst>
            <a:rect l="l" t="t" r="r" b="b"/>
            <a:pathLst>
              <a:path w="4740028" h="4740028">
                <a:moveTo>
                  <a:pt x="2370014" y="0"/>
                </a:moveTo>
                <a:lnTo>
                  <a:pt x="4740028" y="2370014"/>
                </a:lnTo>
                <a:lnTo>
                  <a:pt x="2370014" y="4740028"/>
                </a:lnTo>
                <a:lnTo>
                  <a:pt x="0" y="2370014"/>
                </a:lnTo>
                <a:close/>
              </a:path>
            </a:pathLst>
          </a:custGeom>
        </p:spPr>
      </p:pic>
      <p:sp>
        <p:nvSpPr>
          <p:cNvPr id="23" name="Freeform: Shape 22">
            <a:extLst>
              <a:ext uri="{FF2B5EF4-FFF2-40B4-BE49-F238E27FC236}">
                <a16:creationId xmlns:a16="http://schemas.microsoft.com/office/drawing/2014/main" id="{2A0C9362-97EF-47D6-8355-DB58059260F4}"/>
              </a:ext>
            </a:extLst>
          </p:cNvPr>
          <p:cNvSpPr/>
          <p:nvPr/>
        </p:nvSpPr>
        <p:spPr bwMode="auto">
          <a:xfrm>
            <a:off x="7572828" y="1325478"/>
            <a:ext cx="4740028" cy="4740028"/>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 name="connsiteX4" fmla="*/ 2370014 w 4740028"/>
              <a:gd name="connsiteY4" fmla="*/ 0 h 4740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4740028">
                <a:moveTo>
                  <a:pt x="2370014" y="0"/>
                </a:moveTo>
                <a:lnTo>
                  <a:pt x="4740028" y="2370014"/>
                </a:lnTo>
                <a:lnTo>
                  <a:pt x="2370014" y="4740028"/>
                </a:lnTo>
                <a:lnTo>
                  <a:pt x="0" y="2370014"/>
                </a:lnTo>
                <a:lnTo>
                  <a:pt x="2370014"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26" name="Title 7">
            <a:extLst>
              <a:ext uri="{FF2B5EF4-FFF2-40B4-BE49-F238E27FC236}">
                <a16:creationId xmlns:a16="http://schemas.microsoft.com/office/drawing/2014/main" id="{F5DA9B90-3150-4081-97B3-AB4410A435E7}"/>
              </a:ext>
            </a:extLst>
          </p:cNvPr>
          <p:cNvSpPr>
            <a:spLocks noGrp="1"/>
          </p:cNvSpPr>
          <p:nvPr>
            <p:ph type="title"/>
          </p:nvPr>
        </p:nvSpPr>
        <p:spPr>
          <a:xfrm>
            <a:off x="469654" y="2211388"/>
            <a:ext cx="7163186" cy="1996870"/>
          </a:xfrm>
        </p:spPr>
        <p:txBody>
          <a:bodyPr anchor="b"/>
          <a:lstStyle/>
          <a:p>
            <a:pPr>
              <a:lnSpc>
                <a:spcPct val="100000"/>
              </a:lnSpc>
              <a:spcAft>
                <a:spcPts val="600"/>
              </a:spcAft>
            </a:pPr>
            <a:r>
              <a:rPr lang="en-US" sz="3200" dirty="0">
                <a:cs typeface="Segoe UI"/>
              </a:rPr>
              <a:t>Power Platform Governance</a:t>
            </a:r>
            <a:br>
              <a:rPr lang="en-US" sz="3200" dirty="0">
                <a:cs typeface="Segoe UI"/>
              </a:rPr>
            </a:br>
            <a:r>
              <a:rPr lang="en-US" sz="3200" dirty="0">
                <a:cs typeface="Segoe UI"/>
              </a:rPr>
              <a:t>Overview</a:t>
            </a:r>
            <a:endParaRPr lang="en-IN" sz="3200" dirty="0"/>
          </a:p>
        </p:txBody>
      </p:sp>
      <p:sp>
        <p:nvSpPr>
          <p:cNvPr id="28" name="Freeform: Shape 27">
            <a:extLst>
              <a:ext uri="{FF2B5EF4-FFF2-40B4-BE49-F238E27FC236}">
                <a16:creationId xmlns:a16="http://schemas.microsoft.com/office/drawing/2014/main" id="{DEA6659A-E55D-4B17-A16E-E348B83981E5}"/>
              </a:ext>
            </a:extLst>
          </p:cNvPr>
          <p:cNvSpPr/>
          <p:nvPr/>
        </p:nvSpPr>
        <p:spPr bwMode="auto">
          <a:xfrm>
            <a:off x="7641810" y="1394460"/>
            <a:ext cx="4602064" cy="4602064"/>
          </a:xfrm>
          <a:custGeom>
            <a:avLst/>
            <a:gdLst>
              <a:gd name="connsiteX0" fmla="*/ 2370014 w 4740028"/>
              <a:gd name="connsiteY0" fmla="*/ 0 h 4740028"/>
              <a:gd name="connsiteX1" fmla="*/ 4740028 w 4740028"/>
              <a:gd name="connsiteY1" fmla="*/ 2370014 h 4740028"/>
              <a:gd name="connsiteX2" fmla="*/ 2370014 w 4740028"/>
              <a:gd name="connsiteY2" fmla="*/ 4740028 h 4740028"/>
              <a:gd name="connsiteX3" fmla="*/ 0 w 4740028"/>
              <a:gd name="connsiteY3" fmla="*/ 2370014 h 4740028"/>
              <a:gd name="connsiteX4" fmla="*/ 2370014 w 4740028"/>
              <a:gd name="connsiteY4" fmla="*/ 0 h 4740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0028" h="4740028">
                <a:moveTo>
                  <a:pt x="2370014" y="0"/>
                </a:moveTo>
                <a:lnTo>
                  <a:pt x="4740028" y="2370014"/>
                </a:lnTo>
                <a:lnTo>
                  <a:pt x="2370014" y="4740028"/>
                </a:lnTo>
                <a:lnTo>
                  <a:pt x="0" y="2370014"/>
                </a:lnTo>
                <a:lnTo>
                  <a:pt x="2370014" y="0"/>
                </a:lnTo>
                <a:close/>
              </a:path>
            </a:pathLst>
          </a:custGeom>
          <a:no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29" name="Freeform: Shape 28">
            <a:extLst>
              <a:ext uri="{FF2B5EF4-FFF2-40B4-BE49-F238E27FC236}">
                <a16:creationId xmlns:a16="http://schemas.microsoft.com/office/drawing/2014/main" id="{7AB564CF-43ED-4181-8F12-E40A66325559}"/>
              </a:ext>
            </a:extLst>
          </p:cNvPr>
          <p:cNvSpPr/>
          <p:nvPr/>
        </p:nvSpPr>
        <p:spPr bwMode="auto">
          <a:xfrm>
            <a:off x="9985622" y="0"/>
            <a:ext cx="4740028" cy="3646830"/>
          </a:xfrm>
          <a:custGeom>
            <a:avLst/>
            <a:gdLst>
              <a:gd name="connsiteX0" fmla="*/ 1276816 w 4740028"/>
              <a:gd name="connsiteY0" fmla="*/ 0 h 3646830"/>
              <a:gd name="connsiteX1" fmla="*/ 3463212 w 4740028"/>
              <a:gd name="connsiteY1" fmla="*/ 0 h 3646830"/>
              <a:gd name="connsiteX2" fmla="*/ 4740028 w 4740028"/>
              <a:gd name="connsiteY2" fmla="*/ 1276816 h 3646830"/>
              <a:gd name="connsiteX3" fmla="*/ 2370014 w 4740028"/>
              <a:gd name="connsiteY3" fmla="*/ 3646830 h 3646830"/>
              <a:gd name="connsiteX4" fmla="*/ 0 w 4740028"/>
              <a:gd name="connsiteY4" fmla="*/ 1276816 h 3646830"/>
              <a:gd name="connsiteX5" fmla="*/ 1276816 w 4740028"/>
              <a:gd name="connsiteY5" fmla="*/ 0 h 3646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0028" h="3646830">
                <a:moveTo>
                  <a:pt x="1276816" y="0"/>
                </a:moveTo>
                <a:lnTo>
                  <a:pt x="3463212" y="0"/>
                </a:lnTo>
                <a:lnTo>
                  <a:pt x="4740028" y="1276816"/>
                </a:lnTo>
                <a:lnTo>
                  <a:pt x="2370014" y="3646830"/>
                </a:lnTo>
                <a:lnTo>
                  <a:pt x="0" y="1276816"/>
                </a:lnTo>
                <a:lnTo>
                  <a:pt x="1276816"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30" name="Freeform: Shape 29">
            <a:extLst>
              <a:ext uri="{FF2B5EF4-FFF2-40B4-BE49-F238E27FC236}">
                <a16:creationId xmlns:a16="http://schemas.microsoft.com/office/drawing/2014/main" id="{A2C8FA4E-E27F-42B2-B01C-CF76FB37247D}"/>
              </a:ext>
            </a:extLst>
          </p:cNvPr>
          <p:cNvSpPr/>
          <p:nvPr/>
        </p:nvSpPr>
        <p:spPr bwMode="auto">
          <a:xfrm>
            <a:off x="9985622" y="3746294"/>
            <a:ext cx="4740028" cy="3111706"/>
          </a:xfrm>
          <a:custGeom>
            <a:avLst/>
            <a:gdLst>
              <a:gd name="connsiteX0" fmla="*/ 2370014 w 4740028"/>
              <a:gd name="connsiteY0" fmla="*/ 0 h 3111706"/>
              <a:gd name="connsiteX1" fmla="*/ 4740028 w 4740028"/>
              <a:gd name="connsiteY1" fmla="*/ 2370014 h 3111706"/>
              <a:gd name="connsiteX2" fmla="*/ 3998336 w 4740028"/>
              <a:gd name="connsiteY2" fmla="*/ 3111706 h 3111706"/>
              <a:gd name="connsiteX3" fmla="*/ 741692 w 4740028"/>
              <a:gd name="connsiteY3" fmla="*/ 3111706 h 3111706"/>
              <a:gd name="connsiteX4" fmla="*/ 0 w 4740028"/>
              <a:gd name="connsiteY4" fmla="*/ 2370014 h 3111706"/>
              <a:gd name="connsiteX5" fmla="*/ 2370014 w 4740028"/>
              <a:gd name="connsiteY5" fmla="*/ 0 h 311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0028" h="3111706">
                <a:moveTo>
                  <a:pt x="2370014" y="0"/>
                </a:moveTo>
                <a:lnTo>
                  <a:pt x="4740028" y="2370014"/>
                </a:lnTo>
                <a:lnTo>
                  <a:pt x="3998336" y="3111706"/>
                </a:lnTo>
                <a:lnTo>
                  <a:pt x="741692" y="3111706"/>
                </a:lnTo>
                <a:lnTo>
                  <a:pt x="0" y="2370014"/>
                </a:lnTo>
                <a:lnTo>
                  <a:pt x="2370014" y="0"/>
                </a:lnTo>
                <a:close/>
              </a:path>
            </a:pathLst>
          </a:cu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C94EC53D-9146-488E-BB16-3CD30529877F}"/>
              </a:ext>
            </a:extLst>
          </p:cNvPr>
          <p:cNvGrpSpPr/>
          <p:nvPr/>
        </p:nvGrpSpPr>
        <p:grpSpPr>
          <a:xfrm>
            <a:off x="-978357" y="5163228"/>
            <a:ext cx="2894839" cy="2802170"/>
            <a:chOff x="-978357" y="5163228"/>
            <a:chExt cx="2894839" cy="2802170"/>
          </a:xfrm>
        </p:grpSpPr>
        <p:sp>
          <p:nvSpPr>
            <p:cNvPr id="32" name="Diamond 31">
              <a:extLst>
                <a:ext uri="{FF2B5EF4-FFF2-40B4-BE49-F238E27FC236}">
                  <a16:creationId xmlns:a16="http://schemas.microsoft.com/office/drawing/2014/main" id="{FEF857BD-B91B-4A94-8466-7342E31072CA}"/>
                </a:ext>
              </a:extLst>
            </p:cNvPr>
            <p:cNvSpPr/>
            <p:nvPr/>
          </p:nvSpPr>
          <p:spPr bwMode="auto">
            <a:xfrm>
              <a:off x="-978357" y="5163228"/>
              <a:ext cx="2802170" cy="2802170"/>
            </a:xfrm>
            <a:prstGeom prst="diamond">
              <a:avLst/>
            </a:prstGeom>
            <a:noFill/>
            <a:ln w="6350">
              <a:solidFill>
                <a:srgbClr val="EAEAE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33" name="Freeform: Shape 32">
              <a:extLst>
                <a:ext uri="{FF2B5EF4-FFF2-40B4-BE49-F238E27FC236}">
                  <a16:creationId xmlns:a16="http://schemas.microsoft.com/office/drawing/2014/main" id="{D568CD7F-2B57-4BF9-A1F5-363B702119C7}"/>
                </a:ext>
              </a:extLst>
            </p:cNvPr>
            <p:cNvSpPr/>
            <p:nvPr/>
          </p:nvSpPr>
          <p:spPr bwMode="auto">
            <a:xfrm>
              <a:off x="1205090" y="6412746"/>
              <a:ext cx="711392" cy="445254"/>
            </a:xfrm>
            <a:custGeom>
              <a:avLst/>
              <a:gdLst>
                <a:gd name="connsiteX0" fmla="*/ 355696 w 711392"/>
                <a:gd name="connsiteY0" fmla="*/ 0 h 445254"/>
                <a:gd name="connsiteX1" fmla="*/ 711392 w 711392"/>
                <a:gd name="connsiteY1" fmla="*/ 355696 h 445254"/>
                <a:gd name="connsiteX2" fmla="*/ 621834 w 711392"/>
                <a:gd name="connsiteY2" fmla="*/ 445254 h 445254"/>
                <a:gd name="connsiteX3" fmla="*/ 89558 w 711392"/>
                <a:gd name="connsiteY3" fmla="*/ 445254 h 445254"/>
                <a:gd name="connsiteX4" fmla="*/ 0 w 711392"/>
                <a:gd name="connsiteY4" fmla="*/ 355696 h 445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392" h="445254">
                  <a:moveTo>
                    <a:pt x="355696" y="0"/>
                  </a:moveTo>
                  <a:lnTo>
                    <a:pt x="711392" y="355696"/>
                  </a:lnTo>
                  <a:lnTo>
                    <a:pt x="621834" y="445254"/>
                  </a:lnTo>
                  <a:lnTo>
                    <a:pt x="89558" y="445254"/>
                  </a:lnTo>
                  <a:lnTo>
                    <a:pt x="0" y="355696"/>
                  </a:lnTo>
                  <a:close/>
                </a:path>
              </a:pathLst>
            </a:custGeom>
            <a:solidFill>
              <a:srgbClr val="1919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grpSp>
      <p:sp>
        <p:nvSpPr>
          <p:cNvPr id="2" name="Ellipse 1">
            <a:extLst>
              <a:ext uri="{FF2B5EF4-FFF2-40B4-BE49-F238E27FC236}">
                <a16:creationId xmlns:a16="http://schemas.microsoft.com/office/drawing/2014/main" id="{D55A7717-C22C-4E08-9A06-E88D57BAE338}"/>
              </a:ext>
            </a:extLst>
          </p:cNvPr>
          <p:cNvSpPr/>
          <p:nvPr/>
        </p:nvSpPr>
        <p:spPr bwMode="auto">
          <a:xfrm>
            <a:off x="623577" y="4818897"/>
            <a:ext cx="1061799" cy="1040532"/>
          </a:xfrm>
          <a:prstGeom prst="ellipse">
            <a:avLst/>
          </a:prstGeom>
          <a:gradFill flip="none" rotWithShape="1">
            <a:gsLst>
              <a:gs pos="0">
                <a:srgbClr val="DF82C5"/>
              </a:gs>
              <a:gs pos="0">
                <a:srgbClr val="30E5D0"/>
              </a:gs>
              <a:gs pos="100000">
                <a:schemeClr val="accent6"/>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Ellipse 2">
            <a:extLst>
              <a:ext uri="{FF2B5EF4-FFF2-40B4-BE49-F238E27FC236}">
                <a16:creationId xmlns:a16="http://schemas.microsoft.com/office/drawing/2014/main" id="{A7AF8EBB-5FDD-4F69-BFE1-5E6EB5B5D221}"/>
              </a:ext>
            </a:extLst>
          </p:cNvPr>
          <p:cNvSpPr/>
          <p:nvPr/>
        </p:nvSpPr>
        <p:spPr bwMode="auto">
          <a:xfrm>
            <a:off x="491824" y="4974196"/>
            <a:ext cx="1112961" cy="1090669"/>
          </a:xfrm>
          <a:prstGeom prst="ellipse">
            <a:avLst/>
          </a:prstGeom>
          <a:gradFill flip="none" rotWithShape="1">
            <a:gsLst>
              <a:gs pos="0">
                <a:srgbClr val="0B9987">
                  <a:alpha val="60000"/>
                </a:srgbClr>
              </a:gs>
              <a:gs pos="100000">
                <a:schemeClr val="accent5"/>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7205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36575" y="288925"/>
            <a:ext cx="11655425" cy="461963"/>
          </a:xfrm>
        </p:spPr>
        <p:txBody>
          <a:bodyPr/>
          <a:lstStyle/>
          <a:p>
            <a:r>
              <a:rPr lang="en-US" dirty="0">
                <a:noFill/>
              </a:rPr>
              <a:t>Disclaimer</a:t>
            </a:r>
          </a:p>
        </p:txBody>
      </p:sp>
    </p:spTree>
    <p:custDataLst>
      <p:tags r:id="rId1"/>
    </p:custDataLst>
    <p:extLst>
      <p:ext uri="{BB962C8B-B14F-4D97-AF65-F5344CB8AC3E}">
        <p14:creationId xmlns:p14="http://schemas.microsoft.com/office/powerpoint/2010/main" val="2242852715"/>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7C52D5B6-7CD4-4BB6-808A-4D1C4F37C151}"/>
              </a:ext>
            </a:extLst>
          </p:cNvPr>
          <p:cNvSpPr/>
          <p:nvPr/>
        </p:nvSpPr>
        <p:spPr>
          <a:xfrm flipV="1">
            <a:off x="0" y="1133801"/>
            <a:ext cx="12192000" cy="914393"/>
          </a:xfrm>
          <a:prstGeom prst="rect">
            <a:avLst/>
          </a:prstGeom>
          <a:solidFill>
            <a:schemeClr val="tx1"/>
          </a:solidFill>
          <a:ln w="9525" cap="flat" cmpd="sng" algn="ctr">
            <a:noFill/>
            <a:prstDash val="dash"/>
          </a:ln>
          <a:effectLst/>
        </p:spPr>
        <p:txBody>
          <a:bodyPr wrap="square" lIns="0" tIns="0" rIns="0" bIns="0" rtlCol="0" anchor="ctr" anchorCtr="0">
            <a:noAutofit/>
          </a:bodyPr>
          <a:lstStyle/>
          <a:p>
            <a:pPr marL="401506" algn="ctr" defTabSz="895355">
              <a:spcAft>
                <a:spcPts val="294"/>
              </a:spcAft>
              <a:defRPr/>
            </a:pPr>
            <a:endParaRPr lang="en-US" sz="2000" b="1">
              <a:solidFill>
                <a:srgbClr val="3C3C41"/>
              </a:solidFill>
              <a:latin typeface="+mj-lt"/>
              <a:cs typeface="Segoe UI"/>
            </a:endParaRPr>
          </a:p>
        </p:txBody>
      </p:sp>
      <p:sp>
        <p:nvSpPr>
          <p:cNvPr id="46" name="Title 7">
            <a:extLst>
              <a:ext uri="{FF2B5EF4-FFF2-40B4-BE49-F238E27FC236}">
                <a16:creationId xmlns:a16="http://schemas.microsoft.com/office/drawing/2014/main" id="{C8685194-E0F7-4D86-8E73-15623D5555F9}"/>
              </a:ext>
            </a:extLst>
          </p:cNvPr>
          <p:cNvSpPr>
            <a:spLocks noGrp="1"/>
          </p:cNvSpPr>
          <p:nvPr>
            <p:ph type="title"/>
          </p:nvPr>
        </p:nvSpPr>
        <p:spPr/>
        <p:txBody>
          <a:bodyPr/>
          <a:lstStyle/>
          <a:p>
            <a:r>
              <a:rPr lang="en-IN"/>
              <a:t>Microsoft Power Platform</a:t>
            </a:r>
          </a:p>
        </p:txBody>
      </p:sp>
      <p:sp>
        <p:nvSpPr>
          <p:cNvPr id="47" name="Rectangle 46">
            <a:extLst>
              <a:ext uri="{FF2B5EF4-FFF2-40B4-BE49-F238E27FC236}">
                <a16:creationId xmlns:a16="http://schemas.microsoft.com/office/drawing/2014/main" id="{02F3E3D3-D349-469B-B78A-5E14D4EA0B1C}"/>
              </a:ext>
            </a:extLst>
          </p:cNvPr>
          <p:cNvSpPr/>
          <p:nvPr/>
        </p:nvSpPr>
        <p:spPr>
          <a:xfrm>
            <a:off x="0" y="1181557"/>
            <a:ext cx="12192000" cy="818880"/>
          </a:xfrm>
          <a:prstGeom prst="rect">
            <a:avLst/>
          </a:prstGeom>
          <a:noFill/>
          <a:ln w="9525" cap="flat" cmpd="sng" algn="ctr">
            <a:noFill/>
            <a:prstDash val="dash"/>
          </a:ln>
          <a:effectLst/>
        </p:spPr>
        <p:txBody>
          <a:bodyPr wrap="square" lIns="0" tIns="0" rIns="0" bIns="0" rtlCol="0" anchor="ctr" anchorCtr="0">
            <a:noAutofit/>
          </a:bodyPr>
          <a:lstStyle/>
          <a:p>
            <a:pPr marL="401506" algn="ctr" defTabSz="895355">
              <a:spcAft>
                <a:spcPts val="294"/>
              </a:spcAft>
              <a:defRPr/>
            </a:pPr>
            <a:r>
              <a:rPr lang="en-US" sz="2000">
                <a:solidFill>
                  <a:schemeClr val="bg1"/>
                </a:solidFill>
                <a:cs typeface="Segoe UI Semilight"/>
              </a:rPr>
              <a:t>The low-code platform that spans Office 365, Azure, Dynamics 365, and standalone applications</a:t>
            </a:r>
          </a:p>
          <a:p>
            <a:pPr marL="401506" algn="ctr" defTabSz="895355">
              <a:spcAft>
                <a:spcPts val="294"/>
              </a:spcAft>
              <a:defRPr/>
            </a:pPr>
            <a:r>
              <a:rPr lang="en-US" sz="2400">
                <a:solidFill>
                  <a:schemeClr val="bg1"/>
                </a:solidFill>
                <a:latin typeface="+mj-lt"/>
                <a:cs typeface="Segoe UI Semilight"/>
              </a:rPr>
              <a:t>Innovation anywhere unlocks value everywhere</a:t>
            </a:r>
          </a:p>
        </p:txBody>
      </p:sp>
      <p:sp>
        <p:nvSpPr>
          <p:cNvPr id="50" name="Rectangle 49">
            <a:extLst>
              <a:ext uri="{FF2B5EF4-FFF2-40B4-BE49-F238E27FC236}">
                <a16:creationId xmlns:a16="http://schemas.microsoft.com/office/drawing/2014/main" id="{222C75AF-E195-469F-A188-2414B73C0AD1}"/>
              </a:ext>
            </a:extLst>
          </p:cNvPr>
          <p:cNvSpPr/>
          <p:nvPr/>
        </p:nvSpPr>
        <p:spPr bwMode="auto">
          <a:xfrm>
            <a:off x="0" y="3797300"/>
            <a:ext cx="12192000" cy="78740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cxnSp>
        <p:nvCxnSpPr>
          <p:cNvPr id="52" name="Straight Connector 51">
            <a:extLst>
              <a:ext uri="{FF2B5EF4-FFF2-40B4-BE49-F238E27FC236}">
                <a16:creationId xmlns:a16="http://schemas.microsoft.com/office/drawing/2014/main" id="{A75B81C2-ABB7-4611-9183-93CC22EEC5F1}"/>
              </a:ext>
            </a:extLst>
          </p:cNvPr>
          <p:cNvCxnSpPr>
            <a:cxnSpLocks/>
          </p:cNvCxnSpPr>
          <p:nvPr/>
        </p:nvCxnSpPr>
        <p:spPr>
          <a:xfrm>
            <a:off x="3293728" y="4025900"/>
            <a:ext cx="0" cy="330200"/>
          </a:xfrm>
          <a:prstGeom prst="line">
            <a:avLst/>
          </a:prstGeom>
          <a:ln>
            <a:solidFill>
              <a:srgbClr val="19191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B74AF87-4B35-4F75-80BB-5F0A4670265C}"/>
              </a:ext>
            </a:extLst>
          </p:cNvPr>
          <p:cNvCxnSpPr>
            <a:cxnSpLocks/>
          </p:cNvCxnSpPr>
          <p:nvPr/>
        </p:nvCxnSpPr>
        <p:spPr>
          <a:xfrm>
            <a:off x="6096001" y="4025900"/>
            <a:ext cx="0" cy="330200"/>
          </a:xfrm>
          <a:prstGeom prst="line">
            <a:avLst/>
          </a:prstGeom>
          <a:ln>
            <a:solidFill>
              <a:srgbClr val="19191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53C0074-1CA4-495B-ADD1-5AABD73A230E}"/>
              </a:ext>
            </a:extLst>
          </p:cNvPr>
          <p:cNvCxnSpPr>
            <a:cxnSpLocks/>
          </p:cNvCxnSpPr>
          <p:nvPr/>
        </p:nvCxnSpPr>
        <p:spPr>
          <a:xfrm>
            <a:off x="8898274" y="4025900"/>
            <a:ext cx="0" cy="330200"/>
          </a:xfrm>
          <a:prstGeom prst="line">
            <a:avLst/>
          </a:prstGeom>
          <a:ln>
            <a:solidFill>
              <a:srgbClr val="191919"/>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5995C7E4-D4C4-4A88-A47B-C8CC3D124E12}"/>
              </a:ext>
            </a:extLst>
          </p:cNvPr>
          <p:cNvGrpSpPr/>
          <p:nvPr/>
        </p:nvGrpSpPr>
        <p:grpSpPr>
          <a:xfrm>
            <a:off x="584709" y="2814958"/>
            <a:ext cx="2615765" cy="1744342"/>
            <a:chOff x="584709" y="2814958"/>
            <a:chExt cx="2615765" cy="1744342"/>
          </a:xfrm>
        </p:grpSpPr>
        <p:sp>
          <p:nvSpPr>
            <p:cNvPr id="56" name="Rectangle 55">
              <a:extLst>
                <a:ext uri="{FF2B5EF4-FFF2-40B4-BE49-F238E27FC236}">
                  <a16:creationId xmlns:a16="http://schemas.microsoft.com/office/drawing/2014/main" id="{0E927122-7568-4E8D-AF10-64EE3CCC1B47}"/>
                </a:ext>
              </a:extLst>
            </p:cNvPr>
            <p:cNvSpPr/>
            <p:nvPr/>
          </p:nvSpPr>
          <p:spPr bwMode="auto">
            <a:xfrm>
              <a:off x="584709" y="3822700"/>
              <a:ext cx="2615765" cy="73660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600">
                  <a:solidFill>
                    <a:schemeClr val="tx1"/>
                  </a:solidFill>
                  <a:latin typeface="+mj-lt"/>
                  <a:ea typeface="Segoe UI" pitchFamily="34" charset="0"/>
                  <a:cs typeface="Segoe UI" pitchFamily="34" charset="0"/>
                </a:rPr>
                <a:t>Power BI</a:t>
              </a:r>
            </a:p>
            <a:p>
              <a:pPr algn="ctr" defTabSz="932472" fontAlgn="base">
                <a:spcBef>
                  <a:spcPct val="0"/>
                </a:spcBef>
                <a:spcAft>
                  <a:spcPct val="0"/>
                </a:spcAft>
              </a:pPr>
              <a:r>
                <a:rPr lang="en-IN" sz="1600">
                  <a:solidFill>
                    <a:schemeClr val="tx1"/>
                  </a:solidFill>
                  <a:ea typeface="Segoe UI" pitchFamily="34" charset="0"/>
                  <a:cs typeface="Segoe UI" pitchFamily="34" charset="0"/>
                </a:rPr>
                <a:t>Business analytics</a:t>
              </a:r>
            </a:p>
          </p:txBody>
        </p:sp>
        <p:pic>
          <p:nvPicPr>
            <p:cNvPr id="57" name="Picture 56">
              <a:extLst>
                <a:ext uri="{FF2B5EF4-FFF2-40B4-BE49-F238E27FC236}">
                  <a16:creationId xmlns:a16="http://schemas.microsoft.com/office/drawing/2014/main" id="{79E97A95-EB15-4139-A050-3577C180B252}"/>
                </a:ext>
              </a:extLst>
            </p:cNvPr>
            <p:cNvPicPr>
              <a:picLocks noChangeAspect="1"/>
            </p:cNvPicPr>
            <p:nvPr/>
          </p:nvPicPr>
          <p:blipFill>
            <a:blip r:embed="rId3"/>
            <a:srcRect/>
            <a:stretch/>
          </p:blipFill>
          <p:spPr>
            <a:xfrm>
              <a:off x="1470607" y="2814958"/>
              <a:ext cx="843968" cy="644082"/>
            </a:xfrm>
            <a:prstGeom prst="rect">
              <a:avLst/>
            </a:prstGeom>
          </p:spPr>
        </p:pic>
      </p:grpSp>
      <p:grpSp>
        <p:nvGrpSpPr>
          <p:cNvPr id="58" name="Group 57">
            <a:extLst>
              <a:ext uri="{FF2B5EF4-FFF2-40B4-BE49-F238E27FC236}">
                <a16:creationId xmlns:a16="http://schemas.microsoft.com/office/drawing/2014/main" id="{03D7ECBD-39EC-40E1-B81B-396E2B7D70FA}"/>
              </a:ext>
            </a:extLst>
          </p:cNvPr>
          <p:cNvGrpSpPr/>
          <p:nvPr/>
        </p:nvGrpSpPr>
        <p:grpSpPr>
          <a:xfrm>
            <a:off x="3386982" y="2809875"/>
            <a:ext cx="2615765" cy="1749425"/>
            <a:chOff x="3386982" y="2809875"/>
            <a:chExt cx="2615765" cy="1749425"/>
          </a:xfrm>
        </p:grpSpPr>
        <p:sp>
          <p:nvSpPr>
            <p:cNvPr id="69" name="Rectangle 68">
              <a:extLst>
                <a:ext uri="{FF2B5EF4-FFF2-40B4-BE49-F238E27FC236}">
                  <a16:creationId xmlns:a16="http://schemas.microsoft.com/office/drawing/2014/main" id="{9C05D936-9E3F-4FA0-B27E-941AA7FF771E}"/>
                </a:ext>
              </a:extLst>
            </p:cNvPr>
            <p:cNvSpPr/>
            <p:nvPr/>
          </p:nvSpPr>
          <p:spPr bwMode="auto">
            <a:xfrm>
              <a:off x="3386982" y="3822700"/>
              <a:ext cx="2615765" cy="73660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76" fontAlgn="base">
                <a:spcBef>
                  <a:spcPct val="0"/>
                </a:spcBef>
                <a:spcAft>
                  <a:spcPts val="392"/>
                </a:spcAft>
                <a:defRPr/>
              </a:pPr>
              <a:r>
                <a:rPr lang="en-US" sz="1600" kern="0">
                  <a:solidFill>
                    <a:schemeClr val="tx1"/>
                  </a:solidFill>
                  <a:latin typeface="+mj-lt"/>
                  <a:cs typeface="Segoe UI" pitchFamily="34" charset="0"/>
                </a:rPr>
                <a:t>Power Apps</a:t>
              </a:r>
            </a:p>
            <a:p>
              <a:pPr algn="ctr" defTabSz="913576" fontAlgn="base">
                <a:spcBef>
                  <a:spcPct val="0"/>
                </a:spcBef>
                <a:spcAft>
                  <a:spcPts val="392"/>
                </a:spcAft>
                <a:defRPr/>
              </a:pPr>
              <a:r>
                <a:rPr lang="en-US" sz="1600" kern="0">
                  <a:solidFill>
                    <a:schemeClr val="tx1"/>
                  </a:solidFill>
                  <a:cs typeface="Segoe UI" pitchFamily="34" charset="0"/>
                </a:rPr>
                <a:t>Application development</a:t>
              </a:r>
            </a:p>
          </p:txBody>
        </p:sp>
        <p:pic>
          <p:nvPicPr>
            <p:cNvPr id="70" name="Picture 69">
              <a:extLst>
                <a:ext uri="{FF2B5EF4-FFF2-40B4-BE49-F238E27FC236}">
                  <a16:creationId xmlns:a16="http://schemas.microsoft.com/office/drawing/2014/main" id="{069A4244-1D4E-4090-8869-56DFCE33FFFC}"/>
                </a:ext>
              </a:extLst>
            </p:cNvPr>
            <p:cNvPicPr>
              <a:picLocks noChangeAspect="1"/>
            </p:cNvPicPr>
            <p:nvPr/>
          </p:nvPicPr>
          <p:blipFill>
            <a:blip r:embed="rId4"/>
            <a:srcRect/>
            <a:stretch/>
          </p:blipFill>
          <p:spPr>
            <a:xfrm>
              <a:off x="4266218" y="2809875"/>
              <a:ext cx="857292" cy="654248"/>
            </a:xfrm>
            <a:prstGeom prst="rect">
              <a:avLst/>
            </a:prstGeom>
          </p:spPr>
        </p:pic>
      </p:grpSp>
      <p:grpSp>
        <p:nvGrpSpPr>
          <p:cNvPr id="71" name="Group 70">
            <a:extLst>
              <a:ext uri="{FF2B5EF4-FFF2-40B4-BE49-F238E27FC236}">
                <a16:creationId xmlns:a16="http://schemas.microsoft.com/office/drawing/2014/main" id="{76F75E5E-0FC4-4FF9-BD63-084029440D94}"/>
              </a:ext>
            </a:extLst>
          </p:cNvPr>
          <p:cNvGrpSpPr/>
          <p:nvPr/>
        </p:nvGrpSpPr>
        <p:grpSpPr>
          <a:xfrm>
            <a:off x="6189255" y="2821987"/>
            <a:ext cx="2615765" cy="1737313"/>
            <a:chOff x="6189255" y="2821987"/>
            <a:chExt cx="2615765" cy="1737313"/>
          </a:xfrm>
        </p:grpSpPr>
        <p:sp>
          <p:nvSpPr>
            <p:cNvPr id="72" name="Rectangle 71">
              <a:extLst>
                <a:ext uri="{FF2B5EF4-FFF2-40B4-BE49-F238E27FC236}">
                  <a16:creationId xmlns:a16="http://schemas.microsoft.com/office/drawing/2014/main" id="{31F9E13C-F99D-4525-900D-5867ED0FA797}"/>
                </a:ext>
              </a:extLst>
            </p:cNvPr>
            <p:cNvSpPr/>
            <p:nvPr/>
          </p:nvSpPr>
          <p:spPr bwMode="auto">
            <a:xfrm>
              <a:off x="6189255" y="3822700"/>
              <a:ext cx="2615765" cy="73660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76" fontAlgn="base">
                <a:spcBef>
                  <a:spcPct val="0"/>
                </a:spcBef>
                <a:spcAft>
                  <a:spcPts val="392"/>
                </a:spcAft>
                <a:defRPr/>
              </a:pPr>
              <a:r>
                <a:rPr lang="en-US" sz="1600" kern="0">
                  <a:solidFill>
                    <a:schemeClr val="tx1"/>
                  </a:solidFill>
                  <a:latin typeface="+mj-lt"/>
                  <a:cs typeface="Segoe UI" pitchFamily="34" charset="0"/>
                </a:rPr>
                <a:t>Power Automate</a:t>
              </a:r>
            </a:p>
            <a:p>
              <a:pPr algn="ctr" defTabSz="913576" fontAlgn="base">
                <a:spcBef>
                  <a:spcPct val="0"/>
                </a:spcBef>
                <a:spcAft>
                  <a:spcPts val="392"/>
                </a:spcAft>
                <a:defRPr/>
              </a:pPr>
              <a:r>
                <a:rPr lang="en-US" sz="1600" kern="0">
                  <a:solidFill>
                    <a:schemeClr val="tx1"/>
                  </a:solidFill>
                  <a:cs typeface="Segoe UI" pitchFamily="34" charset="0"/>
                </a:rPr>
                <a:t>Process automation</a:t>
              </a:r>
            </a:p>
          </p:txBody>
        </p:sp>
        <p:pic>
          <p:nvPicPr>
            <p:cNvPr id="73" name="Picture 72">
              <a:extLst>
                <a:ext uri="{FF2B5EF4-FFF2-40B4-BE49-F238E27FC236}">
                  <a16:creationId xmlns:a16="http://schemas.microsoft.com/office/drawing/2014/main" id="{95BCB53E-5C30-4548-B04B-FB4C40C1901F}"/>
                </a:ext>
              </a:extLst>
            </p:cNvPr>
            <p:cNvPicPr>
              <a:picLocks noChangeAspect="1"/>
            </p:cNvPicPr>
            <p:nvPr/>
          </p:nvPicPr>
          <p:blipFill>
            <a:blip r:embed="rId5"/>
            <a:srcRect/>
            <a:stretch/>
          </p:blipFill>
          <p:spPr>
            <a:xfrm>
              <a:off x="7093527" y="2821987"/>
              <a:ext cx="807220" cy="630024"/>
            </a:xfrm>
            <a:prstGeom prst="rect">
              <a:avLst/>
            </a:prstGeom>
          </p:spPr>
        </p:pic>
      </p:grpSp>
      <p:grpSp>
        <p:nvGrpSpPr>
          <p:cNvPr id="74" name="Group 73">
            <a:extLst>
              <a:ext uri="{FF2B5EF4-FFF2-40B4-BE49-F238E27FC236}">
                <a16:creationId xmlns:a16="http://schemas.microsoft.com/office/drawing/2014/main" id="{7D9F9546-FA69-4B89-B014-E4EC21EED402}"/>
              </a:ext>
            </a:extLst>
          </p:cNvPr>
          <p:cNvGrpSpPr/>
          <p:nvPr/>
        </p:nvGrpSpPr>
        <p:grpSpPr>
          <a:xfrm>
            <a:off x="8991527" y="2809875"/>
            <a:ext cx="2615765" cy="1749425"/>
            <a:chOff x="8991527" y="2809875"/>
            <a:chExt cx="2615765" cy="1749425"/>
          </a:xfrm>
        </p:grpSpPr>
        <p:sp>
          <p:nvSpPr>
            <p:cNvPr id="75" name="Rectangle 74">
              <a:extLst>
                <a:ext uri="{FF2B5EF4-FFF2-40B4-BE49-F238E27FC236}">
                  <a16:creationId xmlns:a16="http://schemas.microsoft.com/office/drawing/2014/main" id="{D07FD82F-62D5-4360-940E-2EECE5DA6020}"/>
                </a:ext>
              </a:extLst>
            </p:cNvPr>
            <p:cNvSpPr/>
            <p:nvPr/>
          </p:nvSpPr>
          <p:spPr bwMode="auto">
            <a:xfrm>
              <a:off x="8991527" y="3822700"/>
              <a:ext cx="2615765" cy="73660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76" fontAlgn="base">
                <a:spcBef>
                  <a:spcPct val="0"/>
                </a:spcBef>
                <a:spcAft>
                  <a:spcPts val="392"/>
                </a:spcAft>
                <a:defRPr/>
              </a:pPr>
              <a:r>
                <a:rPr lang="en-US" sz="1600" kern="0">
                  <a:solidFill>
                    <a:schemeClr val="tx1"/>
                  </a:solidFill>
                  <a:latin typeface="+mj-lt"/>
                  <a:cs typeface="Segoe UI" pitchFamily="34" charset="0"/>
                </a:rPr>
                <a:t>Power Virtual Agents</a:t>
              </a:r>
            </a:p>
            <a:p>
              <a:pPr algn="ctr" defTabSz="913576" fontAlgn="base">
                <a:spcBef>
                  <a:spcPct val="0"/>
                </a:spcBef>
                <a:spcAft>
                  <a:spcPts val="392"/>
                </a:spcAft>
                <a:defRPr/>
              </a:pPr>
              <a:r>
                <a:rPr lang="en-US" sz="1600" kern="0">
                  <a:solidFill>
                    <a:schemeClr val="tx1"/>
                  </a:solidFill>
                  <a:cs typeface="Segoe UI" pitchFamily="34" charset="0"/>
                </a:rPr>
                <a:t>Intelligent chatbots</a:t>
              </a:r>
            </a:p>
          </p:txBody>
        </p:sp>
        <p:pic>
          <p:nvPicPr>
            <p:cNvPr id="76" name="Picture 75">
              <a:extLst>
                <a:ext uri="{FF2B5EF4-FFF2-40B4-BE49-F238E27FC236}">
                  <a16:creationId xmlns:a16="http://schemas.microsoft.com/office/drawing/2014/main" id="{AF1B2AE5-2E31-404A-AA7A-664966681AD6}"/>
                </a:ext>
              </a:extLst>
            </p:cNvPr>
            <p:cNvPicPr>
              <a:picLocks noChangeAspect="1"/>
            </p:cNvPicPr>
            <p:nvPr/>
          </p:nvPicPr>
          <p:blipFill>
            <a:blip r:embed="rId6"/>
            <a:srcRect/>
            <a:stretch/>
          </p:blipFill>
          <p:spPr>
            <a:xfrm>
              <a:off x="9852339" y="2809875"/>
              <a:ext cx="894140" cy="654248"/>
            </a:xfrm>
            <a:prstGeom prst="rect">
              <a:avLst/>
            </a:prstGeom>
          </p:spPr>
        </p:pic>
      </p:grpSp>
      <p:grpSp>
        <p:nvGrpSpPr>
          <p:cNvPr id="77" name="Group 76">
            <a:extLst>
              <a:ext uri="{FF2B5EF4-FFF2-40B4-BE49-F238E27FC236}">
                <a16:creationId xmlns:a16="http://schemas.microsoft.com/office/drawing/2014/main" id="{1110F7DF-A994-4D28-9EE9-27E8055264C4}"/>
              </a:ext>
            </a:extLst>
          </p:cNvPr>
          <p:cNvGrpSpPr/>
          <p:nvPr/>
        </p:nvGrpSpPr>
        <p:grpSpPr>
          <a:xfrm>
            <a:off x="1340282" y="4820545"/>
            <a:ext cx="9511436" cy="1657661"/>
            <a:chOff x="1397806" y="4968528"/>
            <a:chExt cx="9702160" cy="1690901"/>
          </a:xfrm>
        </p:grpSpPr>
        <p:grpSp>
          <p:nvGrpSpPr>
            <p:cNvPr id="78" name="Group 77">
              <a:extLst>
                <a:ext uri="{FF2B5EF4-FFF2-40B4-BE49-F238E27FC236}">
                  <a16:creationId xmlns:a16="http://schemas.microsoft.com/office/drawing/2014/main" id="{B53A46B5-647D-434C-9ADA-E6CA0FA129DD}"/>
                </a:ext>
              </a:extLst>
            </p:cNvPr>
            <p:cNvGrpSpPr/>
            <p:nvPr/>
          </p:nvGrpSpPr>
          <p:grpSpPr>
            <a:xfrm>
              <a:off x="9728366" y="5386893"/>
              <a:ext cx="1371600" cy="1272536"/>
              <a:chOff x="9728366" y="5386893"/>
              <a:chExt cx="1371600" cy="1272536"/>
            </a:xfrm>
          </p:grpSpPr>
          <p:pic>
            <p:nvPicPr>
              <p:cNvPr id="88" name="Picture 87">
                <a:extLst>
                  <a:ext uri="{FF2B5EF4-FFF2-40B4-BE49-F238E27FC236}">
                    <a16:creationId xmlns:a16="http://schemas.microsoft.com/office/drawing/2014/main" id="{4F018D96-DDB4-414A-B7E0-E604E5BD864A}"/>
                  </a:ext>
                </a:extLst>
              </p:cNvPr>
              <p:cNvPicPr>
                <a:picLocks noChangeAspect="1"/>
              </p:cNvPicPr>
              <p:nvPr/>
            </p:nvPicPr>
            <p:blipFill>
              <a:blip r:embed="rId7"/>
              <a:stretch>
                <a:fillRect/>
              </a:stretch>
            </p:blipFill>
            <p:spPr>
              <a:xfrm>
                <a:off x="10141116" y="5386893"/>
                <a:ext cx="546100" cy="571500"/>
              </a:xfrm>
              <a:prstGeom prst="rect">
                <a:avLst/>
              </a:prstGeom>
            </p:spPr>
          </p:pic>
          <p:sp>
            <p:nvSpPr>
              <p:cNvPr id="89" name="Rectangle 88">
                <a:extLst>
                  <a:ext uri="{FF2B5EF4-FFF2-40B4-BE49-F238E27FC236}">
                    <a16:creationId xmlns:a16="http://schemas.microsoft.com/office/drawing/2014/main" id="{6DFCCA6C-615F-4B94-A5A4-F83A94E7F4CE}"/>
                  </a:ext>
                </a:extLst>
              </p:cNvPr>
              <p:cNvSpPr/>
              <p:nvPr/>
            </p:nvSpPr>
            <p:spPr bwMode="auto">
              <a:xfrm>
                <a:off x="9728366" y="6110789"/>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3751" fontAlgn="base">
                  <a:spcBef>
                    <a:spcPct val="0"/>
                  </a:spcBef>
                  <a:spcAft>
                    <a:spcPts val="392"/>
                  </a:spcAft>
                  <a:defRPr/>
                </a:pPr>
                <a:r>
                  <a:rPr lang="en-US" sz="1600" b="1" kern="0" dirty="0" err="1">
                    <a:latin typeface="+mj-lt"/>
                    <a:cs typeface="Segoe UI" pitchFamily="34" charset="0"/>
                  </a:rPr>
                  <a:t>Dataverse</a:t>
                </a:r>
                <a:endParaRPr lang="en-US" sz="1600" b="1" kern="0" dirty="0">
                  <a:latin typeface="+mj-lt"/>
                  <a:cs typeface="Segoe UI" pitchFamily="34" charset="0"/>
                </a:endParaRPr>
              </a:p>
            </p:txBody>
          </p:sp>
        </p:grpSp>
        <p:grpSp>
          <p:nvGrpSpPr>
            <p:cNvPr id="79" name="Group 78">
              <a:extLst>
                <a:ext uri="{FF2B5EF4-FFF2-40B4-BE49-F238E27FC236}">
                  <a16:creationId xmlns:a16="http://schemas.microsoft.com/office/drawing/2014/main" id="{922C7714-9788-4B54-9EC2-8AC7752854CB}"/>
                </a:ext>
              </a:extLst>
            </p:cNvPr>
            <p:cNvGrpSpPr/>
            <p:nvPr/>
          </p:nvGrpSpPr>
          <p:grpSpPr>
            <a:xfrm>
              <a:off x="1397806" y="5310693"/>
              <a:ext cx="1371600" cy="1348736"/>
              <a:chOff x="2972135" y="5310693"/>
              <a:chExt cx="1371600" cy="1348736"/>
            </a:xfrm>
          </p:grpSpPr>
          <p:pic>
            <p:nvPicPr>
              <p:cNvPr id="86" name="Picture 85">
                <a:extLst>
                  <a:ext uri="{FF2B5EF4-FFF2-40B4-BE49-F238E27FC236}">
                    <a16:creationId xmlns:a16="http://schemas.microsoft.com/office/drawing/2014/main" id="{F9C8282F-FA32-4573-B090-B209854CB354}"/>
                  </a:ext>
                </a:extLst>
              </p:cNvPr>
              <p:cNvPicPr>
                <a:picLocks noChangeAspect="1"/>
              </p:cNvPicPr>
              <p:nvPr/>
            </p:nvPicPr>
            <p:blipFill>
              <a:blip r:embed="rId8"/>
              <a:stretch>
                <a:fillRect/>
              </a:stretch>
            </p:blipFill>
            <p:spPr>
              <a:xfrm>
                <a:off x="3321385" y="5310693"/>
                <a:ext cx="673100" cy="647700"/>
              </a:xfrm>
              <a:prstGeom prst="rect">
                <a:avLst/>
              </a:prstGeom>
            </p:spPr>
          </p:pic>
          <p:sp>
            <p:nvSpPr>
              <p:cNvPr id="87" name="Rectangle 86">
                <a:extLst>
                  <a:ext uri="{FF2B5EF4-FFF2-40B4-BE49-F238E27FC236}">
                    <a16:creationId xmlns:a16="http://schemas.microsoft.com/office/drawing/2014/main" id="{A5E47988-B77E-4623-913B-B0AC54E9D418}"/>
                  </a:ext>
                </a:extLst>
              </p:cNvPr>
              <p:cNvSpPr/>
              <p:nvPr/>
            </p:nvSpPr>
            <p:spPr bwMode="auto">
              <a:xfrm>
                <a:off x="2972135" y="6110789"/>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3751" fontAlgn="base">
                  <a:spcBef>
                    <a:spcPct val="0"/>
                  </a:spcBef>
                  <a:spcAft>
                    <a:spcPts val="392"/>
                  </a:spcAft>
                  <a:defRPr/>
                </a:pPr>
                <a:r>
                  <a:rPr lang="en-US" sz="1600" b="1" kern="0">
                    <a:latin typeface="+mj-lt"/>
                    <a:cs typeface="Segoe UI" pitchFamily="34" charset="0"/>
                  </a:rPr>
                  <a:t>Data</a:t>
                </a:r>
                <a:br>
                  <a:rPr lang="en-US" sz="1600" b="1" kern="0">
                    <a:latin typeface="+mj-lt"/>
                    <a:cs typeface="Segoe UI" pitchFamily="34" charset="0"/>
                  </a:rPr>
                </a:br>
                <a:r>
                  <a:rPr lang="en-US" sz="1600" b="1" kern="0">
                    <a:latin typeface="+mj-lt"/>
                    <a:cs typeface="Segoe UI" pitchFamily="34" charset="0"/>
                  </a:rPr>
                  <a:t>connectors</a:t>
                </a:r>
              </a:p>
            </p:txBody>
          </p:sp>
        </p:grpSp>
        <p:grpSp>
          <p:nvGrpSpPr>
            <p:cNvPr id="80" name="Group 79">
              <a:extLst>
                <a:ext uri="{FF2B5EF4-FFF2-40B4-BE49-F238E27FC236}">
                  <a16:creationId xmlns:a16="http://schemas.microsoft.com/office/drawing/2014/main" id="{27BC7ECE-59BC-48B5-BC46-61F8F6E0F6AD}"/>
                </a:ext>
              </a:extLst>
            </p:cNvPr>
            <p:cNvGrpSpPr/>
            <p:nvPr/>
          </p:nvGrpSpPr>
          <p:grpSpPr>
            <a:xfrm>
              <a:off x="5563086" y="5285293"/>
              <a:ext cx="1371600" cy="1374136"/>
              <a:chOff x="5563086" y="5285293"/>
              <a:chExt cx="1371600" cy="1374136"/>
            </a:xfrm>
          </p:grpSpPr>
          <p:pic>
            <p:nvPicPr>
              <p:cNvPr id="84" name="Picture 83">
                <a:extLst>
                  <a:ext uri="{FF2B5EF4-FFF2-40B4-BE49-F238E27FC236}">
                    <a16:creationId xmlns:a16="http://schemas.microsoft.com/office/drawing/2014/main" id="{6E041597-104F-4A46-A766-E58D03549F89}"/>
                  </a:ext>
                </a:extLst>
              </p:cNvPr>
              <p:cNvPicPr>
                <a:picLocks noChangeAspect="1"/>
              </p:cNvPicPr>
              <p:nvPr/>
            </p:nvPicPr>
            <p:blipFill>
              <a:blip r:embed="rId9"/>
              <a:stretch>
                <a:fillRect/>
              </a:stretch>
            </p:blipFill>
            <p:spPr>
              <a:xfrm>
                <a:off x="5931386" y="5285293"/>
                <a:ext cx="635000" cy="673100"/>
              </a:xfrm>
              <a:prstGeom prst="rect">
                <a:avLst/>
              </a:prstGeom>
            </p:spPr>
          </p:pic>
          <p:sp>
            <p:nvSpPr>
              <p:cNvPr id="85" name="Rectangle 84">
                <a:extLst>
                  <a:ext uri="{FF2B5EF4-FFF2-40B4-BE49-F238E27FC236}">
                    <a16:creationId xmlns:a16="http://schemas.microsoft.com/office/drawing/2014/main" id="{BD6751AA-88A7-48C6-936D-D40AE6688754}"/>
                  </a:ext>
                </a:extLst>
              </p:cNvPr>
              <p:cNvSpPr/>
              <p:nvPr/>
            </p:nvSpPr>
            <p:spPr bwMode="auto">
              <a:xfrm>
                <a:off x="5563086" y="6110789"/>
                <a:ext cx="1371600" cy="5486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3751" fontAlgn="base">
                  <a:spcBef>
                    <a:spcPct val="0"/>
                  </a:spcBef>
                  <a:spcAft>
                    <a:spcPts val="392"/>
                  </a:spcAft>
                  <a:defRPr/>
                </a:pPr>
                <a:r>
                  <a:rPr lang="en-US" sz="1600" b="1" kern="0">
                    <a:latin typeface="+mj-lt"/>
                    <a:cs typeface="Segoe UI" pitchFamily="34" charset="0"/>
                  </a:rPr>
                  <a:t>AI Builder</a:t>
                </a:r>
              </a:p>
            </p:txBody>
          </p:sp>
        </p:grpSp>
        <p:grpSp>
          <p:nvGrpSpPr>
            <p:cNvPr id="81" name="Group 80">
              <a:extLst>
                <a:ext uri="{FF2B5EF4-FFF2-40B4-BE49-F238E27FC236}">
                  <a16:creationId xmlns:a16="http://schemas.microsoft.com/office/drawing/2014/main" id="{C8CC1A27-F3B6-4F0A-8094-6223E0344F1B}"/>
                </a:ext>
              </a:extLst>
            </p:cNvPr>
            <p:cNvGrpSpPr/>
            <p:nvPr/>
          </p:nvGrpSpPr>
          <p:grpSpPr>
            <a:xfrm>
              <a:off x="2077008" y="4968528"/>
              <a:ext cx="8343757" cy="239248"/>
              <a:chOff x="3429816" y="4686072"/>
              <a:chExt cx="5443255" cy="329848"/>
            </a:xfrm>
          </p:grpSpPr>
          <p:sp>
            <p:nvSpPr>
              <p:cNvPr id="82" name="Rectangle 42">
                <a:extLst>
                  <a:ext uri="{FF2B5EF4-FFF2-40B4-BE49-F238E27FC236}">
                    <a16:creationId xmlns:a16="http://schemas.microsoft.com/office/drawing/2014/main" id="{E6D7C429-6BB7-485B-9B81-DB3C5452D399}"/>
                  </a:ext>
                </a:extLst>
              </p:cNvPr>
              <p:cNvSpPr/>
              <p:nvPr/>
            </p:nvSpPr>
            <p:spPr bwMode="auto">
              <a:xfrm flipV="1">
                <a:off x="3429816" y="4686073"/>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noFill/>
              <a:ln w="12700" cap="flat" cmpd="sng" algn="ctr">
                <a:solidFill>
                  <a:srgbClr val="191919"/>
                </a:solidFill>
                <a:prstDash val="solid"/>
                <a:miter lim="800000"/>
                <a:headEnd type="none" w="lg" len="med"/>
                <a:tailEnd type="none" w="lg"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defTabSz="913751" fontAlgn="base">
                  <a:spcBef>
                    <a:spcPct val="0"/>
                  </a:spcBef>
                  <a:spcAft>
                    <a:spcPct val="0"/>
                  </a:spcAft>
                  <a:defRPr/>
                </a:pPr>
                <a:endParaRPr lang="en-US" sz="1961" kern="0">
                  <a:solidFill>
                    <a:srgbClr val="000000"/>
                  </a:soli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CF702696-A54C-42D5-A94E-46245EB374FD}"/>
                  </a:ext>
                </a:extLst>
              </p:cNvPr>
              <p:cNvCxnSpPr>
                <a:cxnSpLocks/>
              </p:cNvCxnSpPr>
              <p:nvPr/>
            </p:nvCxnSpPr>
            <p:spPr>
              <a:xfrm>
                <a:off x="6151443" y="4686072"/>
                <a:ext cx="0" cy="329848"/>
              </a:xfrm>
              <a:prstGeom prst="line">
                <a:avLst/>
              </a:prstGeom>
              <a:noFill/>
              <a:ln w="12700" cap="flat" cmpd="sng" algn="ctr">
                <a:solidFill>
                  <a:srgbClr val="191919"/>
                </a:solidFill>
                <a:prstDash val="solid"/>
                <a:miter lim="800000"/>
                <a:headEnd type="none" w="lg" len="med"/>
                <a:tailEnd type="none" w="lg" len="med"/>
              </a:ln>
              <a:effectLst/>
            </p:spPr>
          </p:cxnSp>
        </p:grpSp>
      </p:grpSp>
      <p:grpSp>
        <p:nvGrpSpPr>
          <p:cNvPr id="90" name="Group 89">
            <a:extLst>
              <a:ext uri="{FF2B5EF4-FFF2-40B4-BE49-F238E27FC236}">
                <a16:creationId xmlns:a16="http://schemas.microsoft.com/office/drawing/2014/main" id="{1F1EE394-14C5-4FD2-922D-803CAB45CE14}"/>
              </a:ext>
            </a:extLst>
          </p:cNvPr>
          <p:cNvGrpSpPr/>
          <p:nvPr/>
        </p:nvGrpSpPr>
        <p:grpSpPr>
          <a:xfrm>
            <a:off x="11185526" y="-427197"/>
            <a:ext cx="1425574" cy="1212824"/>
            <a:chOff x="6894512" y="6317694"/>
            <a:chExt cx="505574" cy="430124"/>
          </a:xfrm>
        </p:grpSpPr>
        <p:sp>
          <p:nvSpPr>
            <p:cNvPr id="91" name="Diamond 90">
              <a:extLst>
                <a:ext uri="{FF2B5EF4-FFF2-40B4-BE49-F238E27FC236}">
                  <a16:creationId xmlns:a16="http://schemas.microsoft.com/office/drawing/2014/main" id="{8383BA24-F6BF-4C6C-A225-3A2BD3D18D14}"/>
                </a:ext>
              </a:extLst>
            </p:cNvPr>
            <p:cNvSpPr/>
            <p:nvPr/>
          </p:nvSpPr>
          <p:spPr bwMode="auto">
            <a:xfrm>
              <a:off x="6969963" y="6317694"/>
              <a:ext cx="430123" cy="430123"/>
            </a:xfrm>
            <a:prstGeom prst="diamond">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
          <p:nvSpPr>
            <p:cNvPr id="92" name="Diamond 91">
              <a:extLst>
                <a:ext uri="{FF2B5EF4-FFF2-40B4-BE49-F238E27FC236}">
                  <a16:creationId xmlns:a16="http://schemas.microsoft.com/office/drawing/2014/main" id="{0925D170-BC57-4BE8-9BF9-08BF95E55868}"/>
                </a:ext>
              </a:extLst>
            </p:cNvPr>
            <p:cNvSpPr/>
            <p:nvPr/>
          </p:nvSpPr>
          <p:spPr bwMode="auto">
            <a:xfrm>
              <a:off x="6894512" y="6317695"/>
              <a:ext cx="430123" cy="430123"/>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grpSp>
      <p:sp>
        <p:nvSpPr>
          <p:cNvPr id="93" name="Diamond 92">
            <a:extLst>
              <a:ext uri="{FF2B5EF4-FFF2-40B4-BE49-F238E27FC236}">
                <a16:creationId xmlns:a16="http://schemas.microsoft.com/office/drawing/2014/main" id="{BE96034D-8D9F-4127-83FB-10671C8257C9}"/>
              </a:ext>
            </a:extLst>
          </p:cNvPr>
          <p:cNvSpPr/>
          <p:nvPr/>
        </p:nvSpPr>
        <p:spPr bwMode="auto">
          <a:xfrm>
            <a:off x="-770913" y="5753100"/>
            <a:ext cx="1784810" cy="1784810"/>
          </a:xfrm>
          <a:prstGeom prst="diamond">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000000"/>
              </a:solidFill>
              <a:ea typeface="Segoe UI" pitchFamily="34" charset="0"/>
              <a:cs typeface="Segoe UI" pitchFamily="34" charset="0"/>
            </a:endParaRPr>
          </a:p>
        </p:txBody>
      </p:sp>
    </p:spTree>
    <p:extLst>
      <p:ext uri="{BB962C8B-B14F-4D97-AF65-F5344CB8AC3E}">
        <p14:creationId xmlns:p14="http://schemas.microsoft.com/office/powerpoint/2010/main" val="10935629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left)">
                                      <p:cBhvr>
                                        <p:cTn id="7" dur="500"/>
                                        <p:tgtEl>
                                          <p:spTgt spid="4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wipe(left)">
                                      <p:cBhvr>
                                        <p:cTn id="10" dur="500"/>
                                        <p:tgtEl>
                                          <p:spTgt spid="4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50"/>
                                        </p:tgtEl>
                                        <p:attrNameLst>
                                          <p:attrName>style.visibility</p:attrName>
                                        </p:attrNameLst>
                                      </p:cBhvr>
                                      <p:to>
                                        <p:strVal val="visible"/>
                                      </p:to>
                                    </p:set>
                                    <p:animEffect transition="in" filter="fade">
                                      <p:cBhvr>
                                        <p:cTn id="14" dur="500"/>
                                        <p:tgtEl>
                                          <p:spTgt spid="50"/>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55"/>
                                        </p:tgtEl>
                                        <p:attrNameLst>
                                          <p:attrName>style.visibility</p:attrName>
                                        </p:attrNameLst>
                                      </p:cBhvr>
                                      <p:to>
                                        <p:strVal val="visible"/>
                                      </p:to>
                                    </p:set>
                                    <p:animEffect transition="in" filter="fade">
                                      <p:cBhvr>
                                        <p:cTn id="18" dur="500"/>
                                        <p:tgtEl>
                                          <p:spTgt spid="5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58"/>
                                        </p:tgtEl>
                                        <p:attrNameLst>
                                          <p:attrName>style.visibility</p:attrName>
                                        </p:attrNameLst>
                                      </p:cBhvr>
                                      <p:to>
                                        <p:strVal val="visible"/>
                                      </p:to>
                                    </p:set>
                                    <p:animEffect transition="in" filter="fade">
                                      <p:cBhvr>
                                        <p:cTn id="26" dur="500"/>
                                        <p:tgtEl>
                                          <p:spTgt spid="58"/>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53"/>
                                        </p:tgtEl>
                                        <p:attrNameLst>
                                          <p:attrName>style.visibility</p:attrName>
                                        </p:attrNameLst>
                                      </p:cBhvr>
                                      <p:to>
                                        <p:strVal val="visible"/>
                                      </p:to>
                                    </p:set>
                                    <p:animEffect transition="in" filter="fade">
                                      <p:cBhvr>
                                        <p:cTn id="30" dur="500"/>
                                        <p:tgtEl>
                                          <p:spTgt spid="53"/>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71"/>
                                        </p:tgtEl>
                                        <p:attrNameLst>
                                          <p:attrName>style.visibility</p:attrName>
                                        </p:attrNameLst>
                                      </p:cBhvr>
                                      <p:to>
                                        <p:strVal val="visible"/>
                                      </p:to>
                                    </p:set>
                                    <p:animEffect transition="in" filter="fade">
                                      <p:cBhvr>
                                        <p:cTn id="34" dur="500"/>
                                        <p:tgtEl>
                                          <p:spTgt spid="71"/>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54"/>
                                        </p:tgtEl>
                                        <p:attrNameLst>
                                          <p:attrName>style.visibility</p:attrName>
                                        </p:attrNameLst>
                                      </p:cBhvr>
                                      <p:to>
                                        <p:strVal val="visible"/>
                                      </p:to>
                                    </p:set>
                                    <p:animEffect transition="in" filter="fade">
                                      <p:cBhvr>
                                        <p:cTn id="38" dur="500"/>
                                        <p:tgtEl>
                                          <p:spTgt spid="54"/>
                                        </p:tgtEl>
                                      </p:cBhvr>
                                    </p:animEffect>
                                  </p:childTnLst>
                                </p:cTn>
                              </p:par>
                            </p:childTnLst>
                          </p:cTn>
                        </p:par>
                        <p:par>
                          <p:cTn id="39" fill="hold">
                            <p:stCondLst>
                              <p:cond delay="4000"/>
                            </p:stCondLst>
                            <p:childTnLst>
                              <p:par>
                                <p:cTn id="40" presetID="10" presetClass="entr" presetSubtype="0" fill="hold" nodeType="afterEffect">
                                  <p:stCondLst>
                                    <p:cond delay="0"/>
                                  </p:stCondLst>
                                  <p:childTnLst>
                                    <p:set>
                                      <p:cBhvr>
                                        <p:cTn id="41" dur="1" fill="hold">
                                          <p:stCondLst>
                                            <p:cond delay="0"/>
                                          </p:stCondLst>
                                        </p:cTn>
                                        <p:tgtEl>
                                          <p:spTgt spid="74"/>
                                        </p:tgtEl>
                                        <p:attrNameLst>
                                          <p:attrName>style.visibility</p:attrName>
                                        </p:attrNameLst>
                                      </p:cBhvr>
                                      <p:to>
                                        <p:strVal val="visible"/>
                                      </p:to>
                                    </p:set>
                                    <p:animEffect transition="in" filter="fade">
                                      <p:cBhvr>
                                        <p:cTn id="42" dur="500"/>
                                        <p:tgtEl>
                                          <p:spTgt spid="74"/>
                                        </p:tgtEl>
                                      </p:cBhvr>
                                    </p:animEffect>
                                  </p:childTnLst>
                                </p:cTn>
                              </p:par>
                            </p:childTnLst>
                          </p:cTn>
                        </p:par>
                        <p:par>
                          <p:cTn id="43" fill="hold">
                            <p:stCondLst>
                              <p:cond delay="4500"/>
                            </p:stCondLst>
                            <p:childTnLst>
                              <p:par>
                                <p:cTn id="44" presetID="22" presetClass="entr" presetSubtype="1" fill="hold" nodeType="afterEffect">
                                  <p:stCondLst>
                                    <p:cond delay="0"/>
                                  </p:stCondLst>
                                  <p:childTnLst>
                                    <p:set>
                                      <p:cBhvr>
                                        <p:cTn id="45" dur="1" fill="hold">
                                          <p:stCondLst>
                                            <p:cond delay="0"/>
                                          </p:stCondLst>
                                        </p:cTn>
                                        <p:tgtEl>
                                          <p:spTgt spid="77"/>
                                        </p:tgtEl>
                                        <p:attrNameLst>
                                          <p:attrName>style.visibility</p:attrName>
                                        </p:attrNameLst>
                                      </p:cBhvr>
                                      <p:to>
                                        <p:strVal val="visible"/>
                                      </p:to>
                                    </p:set>
                                    <p:animEffect transition="in" filter="wipe(up)">
                                      <p:cBhvr>
                                        <p:cTn id="46"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7" grpId="0"/>
      <p:bldP spid="5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B6025-2D46-4B4E-A4C4-BBD4F30944FF}"/>
              </a:ext>
            </a:extLst>
          </p:cNvPr>
          <p:cNvSpPr>
            <a:spLocks noGrp="1"/>
          </p:cNvSpPr>
          <p:nvPr>
            <p:ph type="title"/>
          </p:nvPr>
        </p:nvSpPr>
        <p:spPr>
          <a:xfrm>
            <a:off x="4364174" y="621448"/>
            <a:ext cx="7398290" cy="403079"/>
          </a:xfrm>
        </p:spPr>
        <p:txBody>
          <a:bodyPr/>
          <a:lstStyle/>
          <a:p>
            <a:r>
              <a:rPr lang="en-US"/>
              <a:t>The Power Platform is Designed For Everyone</a:t>
            </a:r>
            <a:endParaRPr lang="en-IN"/>
          </a:p>
        </p:txBody>
      </p:sp>
      <p:sp>
        <p:nvSpPr>
          <p:cNvPr id="6" name="TextBox 5">
            <a:extLst>
              <a:ext uri="{FF2B5EF4-FFF2-40B4-BE49-F238E27FC236}">
                <a16:creationId xmlns:a16="http://schemas.microsoft.com/office/drawing/2014/main" id="{334710FB-F8CD-4FA5-87E2-8FDF86E8C0BB}"/>
              </a:ext>
            </a:extLst>
          </p:cNvPr>
          <p:cNvSpPr txBox="1"/>
          <p:nvPr/>
        </p:nvSpPr>
        <p:spPr>
          <a:xfrm>
            <a:off x="4364174" y="1149754"/>
            <a:ext cx="7398290" cy="301727"/>
          </a:xfrm>
          <a:prstGeom prst="rect">
            <a:avLst/>
          </a:prstGeom>
          <a:noFill/>
        </p:spPr>
        <p:txBody>
          <a:bodyPr wrap="square" lIns="0" tIns="0" rIns="0" bIns="0" rtlCol="0">
            <a:spAutoFit/>
          </a:bodyPr>
          <a:lstStyle/>
          <a:p>
            <a:pPr defTabSz="896386">
              <a:spcAft>
                <a:spcPts val="588"/>
              </a:spcAft>
              <a:defRPr/>
            </a:pPr>
            <a:r>
              <a:rPr lang="en-US" sz="1961">
                <a:solidFill>
                  <a:srgbClr val="3C3C41"/>
                </a:solidFill>
                <a:latin typeface="Segoe UI"/>
              </a:rPr>
              <a:t>Low-code gives rise to more developers</a:t>
            </a:r>
          </a:p>
        </p:txBody>
      </p:sp>
      <p:sp>
        <p:nvSpPr>
          <p:cNvPr id="35" name="Freeform: Shape 34">
            <a:extLst>
              <a:ext uri="{FF2B5EF4-FFF2-40B4-BE49-F238E27FC236}">
                <a16:creationId xmlns:a16="http://schemas.microsoft.com/office/drawing/2014/main" id="{45192726-3208-4BCA-B65F-8F8ECD411BD6}"/>
              </a:ext>
            </a:extLst>
          </p:cNvPr>
          <p:cNvSpPr/>
          <p:nvPr/>
        </p:nvSpPr>
        <p:spPr bwMode="auto">
          <a:xfrm flipH="1" flipV="1">
            <a:off x="2" y="488"/>
            <a:ext cx="4179393" cy="4302838"/>
          </a:xfrm>
          <a:custGeom>
            <a:avLst/>
            <a:gdLst>
              <a:gd name="connsiteX0" fmla="*/ 4263199 w 4263199"/>
              <a:gd name="connsiteY0" fmla="*/ 4389119 h 4389119"/>
              <a:gd name="connsiteX1" fmla="*/ 927613 w 4263199"/>
              <a:gd name="connsiteY1" fmla="*/ 4389119 h 4389119"/>
              <a:gd name="connsiteX2" fmla="*/ 0 w 4263199"/>
              <a:gd name="connsiteY2" fmla="*/ 2533893 h 4389119"/>
              <a:gd name="connsiteX3" fmla="*/ 1266947 w 4263199"/>
              <a:gd name="connsiteY3" fmla="*/ 0 h 4389119"/>
              <a:gd name="connsiteX4" fmla="*/ 4263199 w 4263199"/>
              <a:gd name="connsiteY4" fmla="*/ 0 h 4389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3199" h="4389119">
                <a:moveTo>
                  <a:pt x="4263199" y="4389119"/>
                </a:moveTo>
                <a:lnTo>
                  <a:pt x="927613" y="4389119"/>
                </a:lnTo>
                <a:lnTo>
                  <a:pt x="0" y="2533893"/>
                </a:lnTo>
                <a:lnTo>
                  <a:pt x="1266947" y="0"/>
                </a:lnTo>
                <a:lnTo>
                  <a:pt x="4263199" y="0"/>
                </a:lnTo>
                <a:close/>
              </a:path>
            </a:pathLst>
          </a:custGeom>
          <a:solidFill>
            <a:schemeClr val="tx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people_12" title="Icon of three people">
            <a:extLst>
              <a:ext uri="{FF2B5EF4-FFF2-40B4-BE49-F238E27FC236}">
                <a16:creationId xmlns:a16="http://schemas.microsoft.com/office/drawing/2014/main" id="{A1F0A0DE-D15F-46F3-AD06-03902C0D8FCA}"/>
              </a:ext>
            </a:extLst>
          </p:cNvPr>
          <p:cNvSpPr>
            <a:spLocks noChangeAspect="1" noEditPoints="1"/>
          </p:cNvSpPr>
          <p:nvPr/>
        </p:nvSpPr>
        <p:spPr bwMode="auto">
          <a:xfrm>
            <a:off x="5340530" y="2173484"/>
            <a:ext cx="729825" cy="6226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000000"/>
              </a:solidFill>
              <a:latin typeface="Segoe UI"/>
            </a:endParaRPr>
          </a:p>
        </p:txBody>
      </p:sp>
      <p:grpSp>
        <p:nvGrpSpPr>
          <p:cNvPr id="12" name="Group 11">
            <a:extLst>
              <a:ext uri="{FF2B5EF4-FFF2-40B4-BE49-F238E27FC236}">
                <a16:creationId xmlns:a16="http://schemas.microsoft.com/office/drawing/2014/main" id="{C97E33D1-C44C-42A7-9BD9-7E1B76D35261}"/>
              </a:ext>
            </a:extLst>
          </p:cNvPr>
          <p:cNvGrpSpPr/>
          <p:nvPr/>
        </p:nvGrpSpPr>
        <p:grpSpPr>
          <a:xfrm>
            <a:off x="5428383" y="3687086"/>
            <a:ext cx="554120" cy="682216"/>
            <a:chOff x="1672226" y="3323226"/>
            <a:chExt cx="252206" cy="310508"/>
          </a:xfrm>
        </p:grpSpPr>
        <p:sp>
          <p:nvSpPr>
            <p:cNvPr id="13" name="Freeform: Shape 12">
              <a:extLst>
                <a:ext uri="{FF2B5EF4-FFF2-40B4-BE49-F238E27FC236}">
                  <a16:creationId xmlns:a16="http://schemas.microsoft.com/office/drawing/2014/main" id="{C87585F2-1A2B-4F89-85B3-1583317FD0B7}"/>
                </a:ext>
              </a:extLst>
            </p:cNvPr>
            <p:cNvSpPr/>
            <p:nvPr/>
          </p:nvSpPr>
          <p:spPr>
            <a:xfrm>
              <a:off x="1676782" y="3460379"/>
              <a:ext cx="247650" cy="142875"/>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14" name="Freeform: Shape 13">
              <a:extLst>
                <a:ext uri="{FF2B5EF4-FFF2-40B4-BE49-F238E27FC236}">
                  <a16:creationId xmlns:a16="http://schemas.microsoft.com/office/drawing/2014/main" id="{3AA77CBE-9768-4F4C-A913-56DBC302851A}"/>
                </a:ext>
              </a:extLst>
            </p:cNvPr>
            <p:cNvSpPr/>
            <p:nvPr/>
          </p:nvSpPr>
          <p:spPr>
            <a:xfrm>
              <a:off x="1719844" y="3515624"/>
              <a:ext cx="161925" cy="95250"/>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15" name="Freeform: Shape 14">
              <a:extLst>
                <a:ext uri="{FF2B5EF4-FFF2-40B4-BE49-F238E27FC236}">
                  <a16:creationId xmlns:a16="http://schemas.microsoft.com/office/drawing/2014/main" id="{46405E39-4D7B-465A-88BD-E5CB6DE83F25}"/>
                </a:ext>
              </a:extLst>
            </p:cNvPr>
            <p:cNvSpPr/>
            <p:nvPr/>
          </p:nvSpPr>
          <p:spPr>
            <a:xfrm>
              <a:off x="1691269" y="3624209"/>
              <a:ext cx="219075" cy="9525"/>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16" name="Freeform: Shape 15">
              <a:extLst>
                <a:ext uri="{FF2B5EF4-FFF2-40B4-BE49-F238E27FC236}">
                  <a16:creationId xmlns:a16="http://schemas.microsoft.com/office/drawing/2014/main" id="{529EBEA9-E82A-4586-9D5F-7A607A22677B}"/>
                </a:ext>
              </a:extLst>
            </p:cNvPr>
            <p:cNvSpPr/>
            <p:nvPr/>
          </p:nvSpPr>
          <p:spPr>
            <a:xfrm>
              <a:off x="1749371" y="3341316"/>
              <a:ext cx="104775" cy="104775"/>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17" name="Freeform: Shape 16">
              <a:extLst>
                <a:ext uri="{FF2B5EF4-FFF2-40B4-BE49-F238E27FC236}">
                  <a16:creationId xmlns:a16="http://schemas.microsoft.com/office/drawing/2014/main" id="{53C2A491-BE3C-4BDF-BEA4-E87455B44BAE}"/>
                </a:ext>
              </a:extLst>
            </p:cNvPr>
            <p:cNvSpPr/>
            <p:nvPr/>
          </p:nvSpPr>
          <p:spPr>
            <a:xfrm>
              <a:off x="1672226" y="3323226"/>
              <a:ext cx="9525" cy="9525"/>
            </a:xfrm>
            <a:custGeom>
              <a:avLst/>
              <a:gdLst/>
              <a:ahLst/>
              <a:cxnLst/>
              <a:rect l="l" t="t" r="r" b="b"/>
              <a:pathLst>
                <a:path w="9525" h="9525"/>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18" name="Freeform: Shape 17">
              <a:extLst>
                <a:ext uri="{FF2B5EF4-FFF2-40B4-BE49-F238E27FC236}">
                  <a16:creationId xmlns:a16="http://schemas.microsoft.com/office/drawing/2014/main" id="{240CD3C8-1ED1-4F5A-9081-7688E8C4C8EF}"/>
                </a:ext>
              </a:extLst>
            </p:cNvPr>
            <p:cNvSpPr/>
            <p:nvPr/>
          </p:nvSpPr>
          <p:spPr>
            <a:xfrm>
              <a:off x="1672430" y="3323430"/>
              <a:ext cx="9525" cy="9525"/>
            </a:xfrm>
            <a:custGeom>
              <a:avLst/>
              <a:gdLst/>
              <a:ahLst/>
              <a:cxnLst/>
              <a:rect l="l" t="t" r="r" b="b"/>
              <a:pathLst>
                <a:path w="9525" h="9525"/>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19" name="Freeform: Shape 18">
              <a:extLst>
                <a:ext uri="{FF2B5EF4-FFF2-40B4-BE49-F238E27FC236}">
                  <a16:creationId xmlns:a16="http://schemas.microsoft.com/office/drawing/2014/main" id="{6BDE1D71-30EF-43C6-9DB6-B0B5C02D7F28}"/>
                </a:ext>
              </a:extLst>
            </p:cNvPr>
            <p:cNvSpPr/>
            <p:nvPr/>
          </p:nvSpPr>
          <p:spPr>
            <a:xfrm>
              <a:off x="1672226" y="3323226"/>
              <a:ext cx="9525" cy="9525"/>
            </a:xfrm>
            <a:custGeom>
              <a:avLst/>
              <a:gdLst/>
              <a:ahLst/>
              <a:cxnLst/>
              <a:rect l="l" t="t" r="r" b="b"/>
              <a:pathLst>
                <a:path w="9525" h="9525"/>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896386">
                <a:defRPr/>
              </a:pPr>
              <a:endParaRPr lang="en-US" sz="882">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5242A180-C29D-4ADA-A2DC-82DAF7F1F017}"/>
              </a:ext>
            </a:extLst>
          </p:cNvPr>
          <p:cNvGrpSpPr/>
          <p:nvPr/>
        </p:nvGrpSpPr>
        <p:grpSpPr>
          <a:xfrm>
            <a:off x="5329908" y="5260234"/>
            <a:ext cx="751070" cy="432551"/>
            <a:chOff x="8500699" y="3331798"/>
            <a:chExt cx="545783" cy="314325"/>
          </a:xfrm>
        </p:grpSpPr>
        <p:sp>
          <p:nvSpPr>
            <p:cNvPr id="21" name="Freeform: Shape 20">
              <a:extLst>
                <a:ext uri="{FF2B5EF4-FFF2-40B4-BE49-F238E27FC236}">
                  <a16:creationId xmlns:a16="http://schemas.microsoft.com/office/drawing/2014/main" id="{974C9CE7-81F1-4B3C-A8C4-1982108F9010}"/>
                </a:ext>
              </a:extLst>
            </p:cNvPr>
            <p:cNvSpPr/>
            <p:nvPr/>
          </p:nvSpPr>
          <p:spPr>
            <a:xfrm>
              <a:off x="8500699" y="3331798"/>
              <a:ext cx="257175" cy="314325"/>
            </a:xfrm>
            <a:custGeom>
              <a:avLst/>
              <a:gdLst>
                <a:gd name="connsiteX0" fmla="*/ 44495 w 257175"/>
                <a:gd name="connsiteY0" fmla="*/ 93073 h 314325"/>
                <a:gd name="connsiteX1" fmla="*/ 134030 w 257175"/>
                <a:gd name="connsiteY1" fmla="*/ 7348 h 314325"/>
                <a:gd name="connsiteX2" fmla="*/ 223565 w 257175"/>
                <a:gd name="connsiteY2" fmla="*/ 93073 h 314325"/>
                <a:gd name="connsiteX3" fmla="*/ 134030 w 257175"/>
                <a:gd name="connsiteY3" fmla="*/ 178798 h 314325"/>
                <a:gd name="connsiteX4" fmla="*/ 44495 w 257175"/>
                <a:gd name="connsiteY4" fmla="*/ 93073 h 314325"/>
                <a:gd name="connsiteX5" fmla="*/ 44495 w 257175"/>
                <a:gd name="connsiteY5" fmla="*/ 93073 h 314325"/>
                <a:gd name="connsiteX6" fmla="*/ 251188 w 257175"/>
                <a:gd name="connsiteY6" fmla="*/ 312148 h 314325"/>
                <a:gd name="connsiteX7" fmla="*/ 131173 w 257175"/>
                <a:gd name="connsiteY7" fmla="*/ 178798 h 314325"/>
                <a:gd name="connsiteX8" fmla="*/ 7348 w 257175"/>
                <a:gd name="connsiteY8" fmla="*/ 31214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14325">
                  <a:moveTo>
                    <a:pt x="44495" y="93073"/>
                  </a:moveTo>
                  <a:cubicBezTo>
                    <a:pt x="44495" y="45448"/>
                    <a:pt x="84500" y="7348"/>
                    <a:pt x="134030" y="7348"/>
                  </a:cubicBezTo>
                  <a:cubicBezTo>
                    <a:pt x="183561" y="7348"/>
                    <a:pt x="223565" y="45448"/>
                    <a:pt x="223565" y="93073"/>
                  </a:cubicBezTo>
                  <a:cubicBezTo>
                    <a:pt x="223565" y="140698"/>
                    <a:pt x="183561" y="178798"/>
                    <a:pt x="134030" y="178798"/>
                  </a:cubicBezTo>
                  <a:cubicBezTo>
                    <a:pt x="84500" y="178798"/>
                    <a:pt x="44495" y="140698"/>
                    <a:pt x="44495" y="93073"/>
                  </a:cubicBezTo>
                  <a:lnTo>
                    <a:pt x="44495" y="93073"/>
                  </a:lnTo>
                  <a:close/>
                  <a:moveTo>
                    <a:pt x="251188" y="312148"/>
                  </a:moveTo>
                  <a:cubicBezTo>
                    <a:pt x="251188" y="241663"/>
                    <a:pt x="197848" y="178798"/>
                    <a:pt x="131173" y="178798"/>
                  </a:cubicBezTo>
                  <a:cubicBezTo>
                    <a:pt x="60688" y="178798"/>
                    <a:pt x="7348" y="240711"/>
                    <a:pt x="7348" y="3121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22" name="Freeform: Shape 21">
              <a:extLst>
                <a:ext uri="{FF2B5EF4-FFF2-40B4-BE49-F238E27FC236}">
                  <a16:creationId xmlns:a16="http://schemas.microsoft.com/office/drawing/2014/main" id="{EB59AF25-5090-4E84-ADBE-74BB77DB9399}"/>
                </a:ext>
              </a:extLst>
            </p:cNvPr>
            <p:cNvSpPr/>
            <p:nvPr/>
          </p:nvSpPr>
          <p:spPr>
            <a:xfrm>
              <a:off x="8703582" y="3370851"/>
              <a:ext cx="257175" cy="190500"/>
            </a:xfrm>
            <a:custGeom>
              <a:avLst/>
              <a:gdLst>
                <a:gd name="connsiteX0" fmla="*/ 23541 w 257175"/>
                <a:gd name="connsiteY0" fmla="*/ 187371 h 190500"/>
                <a:gd name="connsiteX1" fmla="*/ 251188 w 257175"/>
                <a:gd name="connsiteY1" fmla="*/ 187371 h 190500"/>
                <a:gd name="connsiteX2" fmla="*/ 251188 w 257175"/>
                <a:gd name="connsiteY2" fmla="*/ 7348 h 190500"/>
                <a:gd name="connsiteX3" fmla="*/ 7348 w 257175"/>
                <a:gd name="connsiteY3" fmla="*/ 7348 h 190500"/>
              </a:gdLst>
              <a:ahLst/>
              <a:cxnLst>
                <a:cxn ang="0">
                  <a:pos x="connsiteX0" y="connsiteY0"/>
                </a:cxn>
                <a:cxn ang="0">
                  <a:pos x="connsiteX1" y="connsiteY1"/>
                </a:cxn>
                <a:cxn ang="0">
                  <a:pos x="connsiteX2" y="connsiteY2"/>
                </a:cxn>
                <a:cxn ang="0">
                  <a:pos x="connsiteX3" y="connsiteY3"/>
                </a:cxn>
              </a:cxnLst>
              <a:rect l="l" t="t" r="r" b="b"/>
              <a:pathLst>
                <a:path w="257175" h="190500">
                  <a:moveTo>
                    <a:pt x="23541" y="187371"/>
                  </a:moveTo>
                  <a:lnTo>
                    <a:pt x="251188" y="187371"/>
                  </a:lnTo>
                  <a:lnTo>
                    <a:pt x="251188" y="7348"/>
                  </a:ln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23" name="Freeform: Shape 22">
              <a:extLst>
                <a:ext uri="{FF2B5EF4-FFF2-40B4-BE49-F238E27FC236}">
                  <a16:creationId xmlns:a16="http://schemas.microsoft.com/office/drawing/2014/main" id="{5EB24684-CA74-4AA4-BB51-9C3F62284269}"/>
                </a:ext>
              </a:extLst>
            </p:cNvPr>
            <p:cNvSpPr/>
            <p:nvPr/>
          </p:nvSpPr>
          <p:spPr>
            <a:xfrm>
              <a:off x="8913132" y="3407998"/>
              <a:ext cx="133350" cy="219075"/>
            </a:xfrm>
            <a:custGeom>
              <a:avLst/>
              <a:gdLst>
                <a:gd name="connsiteX0" fmla="*/ 46400 w 133350"/>
                <a:gd name="connsiteY0" fmla="*/ 7348 h 219075"/>
                <a:gd name="connsiteX1" fmla="*/ 129268 w 133350"/>
                <a:gd name="connsiteY1" fmla="*/ 7348 h 219075"/>
                <a:gd name="connsiteX2" fmla="*/ 129268 w 133350"/>
                <a:gd name="connsiteY2" fmla="*/ 216898 h 219075"/>
                <a:gd name="connsiteX3" fmla="*/ 7348 w 133350"/>
                <a:gd name="connsiteY3" fmla="*/ 216898 h 219075"/>
                <a:gd name="connsiteX4" fmla="*/ 7348 w 133350"/>
                <a:gd name="connsiteY4" fmla="*/ 153081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219075">
                  <a:moveTo>
                    <a:pt x="46400" y="7348"/>
                  </a:moveTo>
                  <a:lnTo>
                    <a:pt x="129268" y="7348"/>
                  </a:lnTo>
                  <a:lnTo>
                    <a:pt x="129268" y="216898"/>
                  </a:lnTo>
                  <a:lnTo>
                    <a:pt x="7348" y="216898"/>
                  </a:lnTo>
                  <a:lnTo>
                    <a:pt x="7348" y="15308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24" name="Freeform: Shape 23">
              <a:extLst>
                <a:ext uri="{FF2B5EF4-FFF2-40B4-BE49-F238E27FC236}">
                  <a16:creationId xmlns:a16="http://schemas.microsoft.com/office/drawing/2014/main" id="{168371F9-5DF3-4AA4-A682-56BDA8CBF52D}"/>
                </a:ext>
              </a:extLst>
            </p:cNvPr>
            <p:cNvSpPr/>
            <p:nvPr/>
          </p:nvSpPr>
          <p:spPr>
            <a:xfrm>
              <a:off x="8744539" y="3552778"/>
              <a:ext cx="133350" cy="76200"/>
            </a:xfrm>
            <a:custGeom>
              <a:avLst/>
              <a:gdLst>
                <a:gd name="connsiteX0" fmla="*/ 73071 w 133350"/>
                <a:gd name="connsiteY0" fmla="*/ 72118 h 76200"/>
                <a:gd name="connsiteX1" fmla="*/ 73071 w 133350"/>
                <a:gd name="connsiteY1" fmla="*/ 7348 h 76200"/>
                <a:gd name="connsiteX2" fmla="*/ 129268 w 133350"/>
                <a:gd name="connsiteY2" fmla="*/ 72118 h 76200"/>
                <a:gd name="connsiteX3" fmla="*/ 7348 w 133350"/>
                <a:gd name="connsiteY3" fmla="*/ 72118 h 76200"/>
              </a:gdLst>
              <a:ahLst/>
              <a:cxnLst>
                <a:cxn ang="0">
                  <a:pos x="connsiteX0" y="connsiteY0"/>
                </a:cxn>
                <a:cxn ang="0">
                  <a:pos x="connsiteX1" y="connsiteY1"/>
                </a:cxn>
                <a:cxn ang="0">
                  <a:pos x="connsiteX2" y="connsiteY2"/>
                </a:cxn>
                <a:cxn ang="0">
                  <a:pos x="connsiteX3" y="connsiteY3"/>
                </a:cxn>
              </a:cxnLst>
              <a:rect l="l" t="t" r="r" b="b"/>
              <a:pathLst>
                <a:path w="133350" h="76200">
                  <a:moveTo>
                    <a:pt x="73071" y="72118"/>
                  </a:moveTo>
                  <a:lnTo>
                    <a:pt x="73071" y="7348"/>
                  </a:lnTo>
                  <a:moveTo>
                    <a:pt x="129268" y="72118"/>
                  </a:moveTo>
                  <a:lnTo>
                    <a:pt x="7348" y="7211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25" name="Freeform: Shape 24">
              <a:extLst>
                <a:ext uri="{FF2B5EF4-FFF2-40B4-BE49-F238E27FC236}">
                  <a16:creationId xmlns:a16="http://schemas.microsoft.com/office/drawing/2014/main" id="{0AC69F48-C987-4E01-8126-B0C8E030F546}"/>
                </a:ext>
              </a:extLst>
            </p:cNvPr>
            <p:cNvSpPr/>
            <p:nvPr/>
          </p:nvSpPr>
          <p:spPr>
            <a:xfrm>
              <a:off x="8951232" y="3474673"/>
              <a:ext cx="95250" cy="66675"/>
            </a:xfrm>
            <a:custGeom>
              <a:avLst/>
              <a:gdLst>
                <a:gd name="connsiteX0" fmla="*/ 91168 w 95250"/>
                <a:gd name="connsiteY0" fmla="*/ 7348 h 66675"/>
                <a:gd name="connsiteX1" fmla="*/ 7348 w 95250"/>
                <a:gd name="connsiteY1" fmla="*/ 7348 h 66675"/>
                <a:gd name="connsiteX2" fmla="*/ 91168 w 95250"/>
                <a:gd name="connsiteY2" fmla="*/ 64498 h 66675"/>
                <a:gd name="connsiteX3" fmla="*/ 7348 w 95250"/>
                <a:gd name="connsiteY3" fmla="*/ 64498 h 66675"/>
              </a:gdLst>
              <a:ahLst/>
              <a:cxnLst>
                <a:cxn ang="0">
                  <a:pos x="connsiteX0" y="connsiteY0"/>
                </a:cxn>
                <a:cxn ang="0">
                  <a:pos x="connsiteX1" y="connsiteY1"/>
                </a:cxn>
                <a:cxn ang="0">
                  <a:pos x="connsiteX2" y="connsiteY2"/>
                </a:cxn>
                <a:cxn ang="0">
                  <a:pos x="connsiteX3" y="connsiteY3"/>
                </a:cxn>
              </a:cxnLst>
              <a:rect l="l" t="t" r="r" b="b"/>
              <a:pathLst>
                <a:path w="95250" h="66675">
                  <a:moveTo>
                    <a:pt x="91168" y="7348"/>
                  </a:moveTo>
                  <a:lnTo>
                    <a:pt x="7348" y="7348"/>
                  </a:lnTo>
                  <a:moveTo>
                    <a:pt x="91168" y="64498"/>
                  </a:moveTo>
                  <a:lnTo>
                    <a:pt x="7348" y="644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896386">
                <a:defRPr/>
              </a:pPr>
              <a:endParaRPr lang="en-US" sz="882">
                <a:gradFill>
                  <a:gsLst>
                    <a:gs pos="0">
                      <a:srgbClr val="505050"/>
                    </a:gs>
                    <a:gs pos="100000">
                      <a:srgbClr val="505050"/>
                    </a:gs>
                  </a:gsLst>
                  <a:lin ang="5400000" scaled="1"/>
                </a:gradFill>
                <a:latin typeface="Segoe UI"/>
              </a:endParaRPr>
            </a:p>
          </p:txBody>
        </p:sp>
      </p:grpSp>
      <p:sp>
        <p:nvSpPr>
          <p:cNvPr id="26" name="Hexagon 25">
            <a:extLst>
              <a:ext uri="{FF2B5EF4-FFF2-40B4-BE49-F238E27FC236}">
                <a16:creationId xmlns:a16="http://schemas.microsoft.com/office/drawing/2014/main" id="{8EBB46D8-FBF7-4027-9095-38EA0438B658}"/>
              </a:ext>
            </a:extLst>
          </p:cNvPr>
          <p:cNvSpPr/>
          <p:nvPr/>
        </p:nvSpPr>
        <p:spPr bwMode="auto">
          <a:xfrm flipH="1" flipV="1">
            <a:off x="165040" y="4937312"/>
            <a:ext cx="1486040" cy="1281068"/>
          </a:xfrm>
          <a:prstGeom prst="hexagon">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cs typeface="Segoe UI" pitchFamily="34" charset="0"/>
            </a:endParaRPr>
          </a:p>
        </p:txBody>
      </p:sp>
      <p:sp>
        <p:nvSpPr>
          <p:cNvPr id="9" name="Hexagon 8">
            <a:extLst>
              <a:ext uri="{FF2B5EF4-FFF2-40B4-BE49-F238E27FC236}">
                <a16:creationId xmlns:a16="http://schemas.microsoft.com/office/drawing/2014/main" id="{19CC5385-CC10-4F7A-8893-6A1B13B6578D}"/>
              </a:ext>
            </a:extLst>
          </p:cNvPr>
          <p:cNvSpPr/>
          <p:nvPr/>
        </p:nvSpPr>
        <p:spPr bwMode="auto">
          <a:xfrm flipH="1" flipV="1">
            <a:off x="1102271" y="2719641"/>
            <a:ext cx="3255435" cy="2806407"/>
          </a:xfrm>
          <a:prstGeom prst="hexagon">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cs typeface="Segoe UI" pitchFamily="34" charset="0"/>
            </a:endParaRPr>
          </a:p>
        </p:txBody>
      </p:sp>
      <p:sp>
        <p:nvSpPr>
          <p:cNvPr id="27" name="TextBox 26">
            <a:extLst>
              <a:ext uri="{FF2B5EF4-FFF2-40B4-BE49-F238E27FC236}">
                <a16:creationId xmlns:a16="http://schemas.microsoft.com/office/drawing/2014/main" id="{8DB810A7-E37E-49E9-A2B1-7B84510FC93C}"/>
              </a:ext>
            </a:extLst>
          </p:cNvPr>
          <p:cNvSpPr txBox="1"/>
          <p:nvPr/>
        </p:nvSpPr>
        <p:spPr>
          <a:xfrm>
            <a:off x="6748885" y="3783725"/>
            <a:ext cx="3255435" cy="527282"/>
          </a:xfrm>
          <a:prstGeom prst="rect">
            <a:avLst/>
          </a:prstGeom>
          <a:noFill/>
        </p:spPr>
        <p:txBody>
          <a:bodyPr wrap="square" lIns="0" tIns="0" rIns="0" bIns="0" rtlCol="0" anchor="ctr">
            <a:noAutofit/>
          </a:bodyPr>
          <a:lstStyle/>
          <a:p>
            <a:pPr defTabSz="896354">
              <a:spcAft>
                <a:spcPts val="576"/>
              </a:spcAft>
              <a:defRPr/>
            </a:pPr>
            <a:r>
              <a:rPr lang="en-US" sz="2353">
                <a:solidFill>
                  <a:srgbClr val="000000"/>
                </a:solidFill>
                <a:latin typeface="Segoe UI"/>
              </a:rPr>
              <a:t>Experienced Developers</a:t>
            </a:r>
          </a:p>
        </p:txBody>
      </p:sp>
      <p:sp>
        <p:nvSpPr>
          <p:cNvPr id="28" name="TextBox 27">
            <a:extLst>
              <a:ext uri="{FF2B5EF4-FFF2-40B4-BE49-F238E27FC236}">
                <a16:creationId xmlns:a16="http://schemas.microsoft.com/office/drawing/2014/main" id="{1BF47221-05F8-4585-976A-813C62C32818}"/>
              </a:ext>
            </a:extLst>
          </p:cNvPr>
          <p:cNvSpPr txBox="1"/>
          <p:nvPr/>
        </p:nvSpPr>
        <p:spPr>
          <a:xfrm>
            <a:off x="6748884" y="5246729"/>
            <a:ext cx="3255435" cy="527282"/>
          </a:xfrm>
          <a:prstGeom prst="rect">
            <a:avLst/>
          </a:prstGeom>
          <a:noFill/>
        </p:spPr>
        <p:txBody>
          <a:bodyPr wrap="square" lIns="0" tIns="0" rIns="0" bIns="0" rtlCol="0" anchor="ctr">
            <a:noAutofit/>
          </a:bodyPr>
          <a:lstStyle/>
          <a:p>
            <a:pPr defTabSz="896354">
              <a:spcAft>
                <a:spcPts val="576"/>
              </a:spcAft>
              <a:defRPr/>
            </a:pPr>
            <a:r>
              <a:rPr lang="en-US" sz="2353">
                <a:solidFill>
                  <a:srgbClr val="000000"/>
                </a:solidFill>
                <a:latin typeface="Segoe UI"/>
              </a:rPr>
              <a:t>IT/Admins</a:t>
            </a:r>
          </a:p>
        </p:txBody>
      </p:sp>
      <p:sp>
        <p:nvSpPr>
          <p:cNvPr id="29" name="TextBox 28">
            <a:extLst>
              <a:ext uri="{FF2B5EF4-FFF2-40B4-BE49-F238E27FC236}">
                <a16:creationId xmlns:a16="http://schemas.microsoft.com/office/drawing/2014/main" id="{F3AFF62F-A8DC-45C6-BB35-4A6A64E87019}"/>
              </a:ext>
            </a:extLst>
          </p:cNvPr>
          <p:cNvSpPr txBox="1"/>
          <p:nvPr/>
        </p:nvSpPr>
        <p:spPr>
          <a:xfrm>
            <a:off x="6748884" y="2320723"/>
            <a:ext cx="3255435" cy="527282"/>
          </a:xfrm>
          <a:prstGeom prst="rect">
            <a:avLst/>
          </a:prstGeom>
          <a:noFill/>
        </p:spPr>
        <p:txBody>
          <a:bodyPr wrap="square" lIns="0" tIns="0" rIns="0" bIns="0" rtlCol="0" anchor="ctr">
            <a:noAutofit/>
          </a:bodyPr>
          <a:lstStyle/>
          <a:p>
            <a:pPr defTabSz="896354">
              <a:spcAft>
                <a:spcPts val="576"/>
              </a:spcAft>
              <a:defRPr/>
            </a:pPr>
            <a:r>
              <a:rPr lang="en-US" sz="2353">
                <a:solidFill>
                  <a:srgbClr val="000000"/>
                </a:solidFill>
                <a:latin typeface="Segoe UI"/>
              </a:rPr>
              <a:t>End Users</a:t>
            </a:r>
          </a:p>
        </p:txBody>
      </p:sp>
      <p:cxnSp>
        <p:nvCxnSpPr>
          <p:cNvPr id="31" name="Straight Connector 30">
            <a:extLst>
              <a:ext uri="{FF2B5EF4-FFF2-40B4-BE49-F238E27FC236}">
                <a16:creationId xmlns:a16="http://schemas.microsoft.com/office/drawing/2014/main" id="{793271D2-3FA1-48AF-9D55-E3D2960BAB96}"/>
              </a:ext>
            </a:extLst>
          </p:cNvPr>
          <p:cNvCxnSpPr/>
          <p:nvPr/>
        </p:nvCxnSpPr>
        <p:spPr>
          <a:xfrm>
            <a:off x="6748884" y="3315865"/>
            <a:ext cx="3255436"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2" name="Straight Connector 31">
            <a:extLst>
              <a:ext uri="{FF2B5EF4-FFF2-40B4-BE49-F238E27FC236}">
                <a16:creationId xmlns:a16="http://schemas.microsoft.com/office/drawing/2014/main" id="{A82A6A4A-4CC0-47F0-AD02-36BE88F99FF4}"/>
              </a:ext>
            </a:extLst>
          </p:cNvPr>
          <p:cNvCxnSpPr/>
          <p:nvPr/>
        </p:nvCxnSpPr>
        <p:spPr>
          <a:xfrm>
            <a:off x="6748884" y="4778867"/>
            <a:ext cx="3255436"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408876032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1C920D-6E35-490A-B4B5-A8DA00B1D0A2}"/>
              </a:ext>
            </a:extLst>
          </p:cNvPr>
          <p:cNvSpPr>
            <a:spLocks noGrp="1"/>
          </p:cNvSpPr>
          <p:nvPr>
            <p:ph type="title"/>
          </p:nvPr>
        </p:nvSpPr>
        <p:spPr>
          <a:xfrm>
            <a:off x="455995" y="621448"/>
            <a:ext cx="11306469" cy="403079"/>
          </a:xfrm>
        </p:spPr>
        <p:txBody>
          <a:bodyPr/>
          <a:lstStyle/>
          <a:p>
            <a:r>
              <a:rPr lang="en-US"/>
              <a:t>Digital Transformation is Powered By People</a:t>
            </a:r>
            <a:endParaRPr lang="en-IN"/>
          </a:p>
        </p:txBody>
      </p:sp>
      <p:sp>
        <p:nvSpPr>
          <p:cNvPr id="9" name="TextBox 8">
            <a:extLst>
              <a:ext uri="{FF2B5EF4-FFF2-40B4-BE49-F238E27FC236}">
                <a16:creationId xmlns:a16="http://schemas.microsoft.com/office/drawing/2014/main" id="{A86B3C04-A314-49AB-AF32-BF481AA2F8FB}"/>
              </a:ext>
            </a:extLst>
          </p:cNvPr>
          <p:cNvSpPr txBox="1"/>
          <p:nvPr/>
        </p:nvSpPr>
        <p:spPr>
          <a:xfrm>
            <a:off x="455995" y="1149754"/>
            <a:ext cx="11306469" cy="301727"/>
          </a:xfrm>
          <a:prstGeom prst="rect">
            <a:avLst/>
          </a:prstGeom>
          <a:noFill/>
        </p:spPr>
        <p:txBody>
          <a:bodyPr wrap="square" lIns="0" tIns="0" rIns="0" bIns="0" rtlCol="0">
            <a:spAutoFit/>
          </a:bodyPr>
          <a:lstStyle/>
          <a:p>
            <a:pPr defTabSz="896386">
              <a:spcAft>
                <a:spcPts val="588"/>
              </a:spcAft>
              <a:defRPr/>
            </a:pPr>
            <a:r>
              <a:rPr lang="en-IN" sz="1961">
                <a:solidFill>
                  <a:srgbClr val="3C3C41"/>
                </a:solidFill>
                <a:latin typeface="Segoe UI"/>
              </a:rPr>
              <a:t>End users will be creating many more apps than experienced developers in the coming years</a:t>
            </a:r>
          </a:p>
        </p:txBody>
      </p:sp>
      <p:sp>
        <p:nvSpPr>
          <p:cNvPr id="47" name="Hexagon 46">
            <a:extLst>
              <a:ext uri="{FF2B5EF4-FFF2-40B4-BE49-F238E27FC236}">
                <a16:creationId xmlns:a16="http://schemas.microsoft.com/office/drawing/2014/main" id="{2D476898-46E4-4E1D-A22E-D5621C15CE31}"/>
              </a:ext>
            </a:extLst>
          </p:cNvPr>
          <p:cNvSpPr/>
          <p:nvPr/>
        </p:nvSpPr>
        <p:spPr bwMode="auto">
          <a:xfrm>
            <a:off x="1945864" y="2879639"/>
            <a:ext cx="4272375" cy="3683081"/>
          </a:xfrm>
          <a:prstGeom prst="hexagon">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cs typeface="Segoe UI" pitchFamily="34" charset="0"/>
            </a:endParaRPr>
          </a:p>
        </p:txBody>
      </p:sp>
      <p:sp>
        <p:nvSpPr>
          <p:cNvPr id="74" name="Freeform: Shape 73">
            <a:extLst>
              <a:ext uri="{FF2B5EF4-FFF2-40B4-BE49-F238E27FC236}">
                <a16:creationId xmlns:a16="http://schemas.microsoft.com/office/drawing/2014/main" id="{8FF649C8-794F-4A4E-862A-FC2023AAE7A5}"/>
              </a:ext>
            </a:extLst>
          </p:cNvPr>
          <p:cNvSpPr/>
          <p:nvPr/>
        </p:nvSpPr>
        <p:spPr bwMode="auto">
          <a:xfrm>
            <a:off x="1" y="2033071"/>
            <a:ext cx="4602266" cy="3834461"/>
          </a:xfrm>
          <a:custGeom>
            <a:avLst/>
            <a:gdLst>
              <a:gd name="connsiteX0" fmla="*/ 0 w 4694551"/>
              <a:gd name="connsiteY0" fmla="*/ 0 h 3911350"/>
              <a:gd name="connsiteX1" fmla="*/ 3716713 w 4694551"/>
              <a:gd name="connsiteY1" fmla="*/ 0 h 3911350"/>
              <a:gd name="connsiteX2" fmla="*/ 4694551 w 4694551"/>
              <a:gd name="connsiteY2" fmla="*/ 1955675 h 3911350"/>
              <a:gd name="connsiteX3" fmla="*/ 3716713 w 4694551"/>
              <a:gd name="connsiteY3" fmla="*/ 3911350 h 3911350"/>
              <a:gd name="connsiteX4" fmla="*/ 0 w 4694551"/>
              <a:gd name="connsiteY4" fmla="*/ 3911350 h 3911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4551" h="3911350">
                <a:moveTo>
                  <a:pt x="0" y="0"/>
                </a:moveTo>
                <a:lnTo>
                  <a:pt x="3716713" y="0"/>
                </a:lnTo>
                <a:lnTo>
                  <a:pt x="4694551" y="1955675"/>
                </a:lnTo>
                <a:lnTo>
                  <a:pt x="3716713" y="3911350"/>
                </a:lnTo>
                <a:lnTo>
                  <a:pt x="0" y="391135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218D33B0-B61E-4CC8-88D2-F0E0AE8EA2B4}"/>
              </a:ext>
            </a:extLst>
          </p:cNvPr>
          <p:cNvGrpSpPr>
            <a:grpSpLocks noChangeAspect="1"/>
          </p:cNvGrpSpPr>
          <p:nvPr/>
        </p:nvGrpSpPr>
        <p:grpSpPr>
          <a:xfrm>
            <a:off x="8575026" y="3028411"/>
            <a:ext cx="948081" cy="1031953"/>
            <a:chOff x="5551955" y="2199501"/>
            <a:chExt cx="772159" cy="840468"/>
          </a:xfrm>
        </p:grpSpPr>
        <p:sp>
          <p:nvSpPr>
            <p:cNvPr id="53" name="Freeform: Shape 52">
              <a:extLst>
                <a:ext uri="{FF2B5EF4-FFF2-40B4-BE49-F238E27FC236}">
                  <a16:creationId xmlns:a16="http://schemas.microsoft.com/office/drawing/2014/main" id="{9A9842BE-F7ED-4231-9706-89C0AD202BF5}"/>
                </a:ext>
              </a:extLst>
            </p:cNvPr>
            <p:cNvSpPr/>
            <p:nvPr/>
          </p:nvSpPr>
          <p:spPr>
            <a:xfrm>
              <a:off x="5551955" y="2570733"/>
              <a:ext cx="772159" cy="445477"/>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54" name="Freeform: Shape 53">
              <a:extLst>
                <a:ext uri="{FF2B5EF4-FFF2-40B4-BE49-F238E27FC236}">
                  <a16:creationId xmlns:a16="http://schemas.microsoft.com/office/drawing/2014/main" id="{848E6F9A-98BB-4FB7-9053-CCB75524A331}"/>
                </a:ext>
              </a:extLst>
            </p:cNvPr>
            <p:cNvSpPr/>
            <p:nvPr/>
          </p:nvSpPr>
          <p:spPr>
            <a:xfrm>
              <a:off x="5686220" y="2742984"/>
              <a:ext cx="504873" cy="296985"/>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55" name="Freeform: Shape 54">
              <a:extLst>
                <a:ext uri="{FF2B5EF4-FFF2-40B4-BE49-F238E27FC236}">
                  <a16:creationId xmlns:a16="http://schemas.microsoft.com/office/drawing/2014/main" id="{FB808266-3134-49FB-8D76-8F7E053782F1}"/>
                </a:ext>
              </a:extLst>
            </p:cNvPr>
            <p:cNvSpPr/>
            <p:nvPr/>
          </p:nvSpPr>
          <p:spPr>
            <a:xfrm>
              <a:off x="5778284" y="2199501"/>
              <a:ext cx="326683" cy="326683"/>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896386">
                <a:defRPr/>
              </a:pPr>
              <a:endParaRPr lang="en-US" sz="882">
                <a:gradFill>
                  <a:gsLst>
                    <a:gs pos="0">
                      <a:srgbClr val="505050"/>
                    </a:gs>
                    <a:gs pos="100000">
                      <a:srgbClr val="505050"/>
                    </a:gs>
                  </a:gsLst>
                  <a:lin ang="5400000" scaled="1"/>
                </a:gradFill>
                <a:latin typeface="Segoe UI"/>
              </a:endParaRPr>
            </a:p>
          </p:txBody>
        </p:sp>
      </p:grpSp>
      <p:sp>
        <p:nvSpPr>
          <p:cNvPr id="56" name="TextBox 55">
            <a:extLst>
              <a:ext uri="{FF2B5EF4-FFF2-40B4-BE49-F238E27FC236}">
                <a16:creationId xmlns:a16="http://schemas.microsoft.com/office/drawing/2014/main" id="{DC9E616C-A4A4-48ED-B232-849441311F58}"/>
              </a:ext>
            </a:extLst>
          </p:cNvPr>
          <p:cNvSpPr txBox="1"/>
          <p:nvPr/>
        </p:nvSpPr>
        <p:spPr>
          <a:xfrm>
            <a:off x="7419178" y="4119594"/>
            <a:ext cx="3259777" cy="527282"/>
          </a:xfrm>
          <a:prstGeom prst="rect">
            <a:avLst/>
          </a:prstGeom>
          <a:noFill/>
        </p:spPr>
        <p:txBody>
          <a:bodyPr wrap="none" lIns="0" tIns="0" rIns="0" bIns="0" rtlCol="0" anchor="ctr">
            <a:noAutofit/>
          </a:bodyPr>
          <a:lstStyle/>
          <a:p>
            <a:pPr algn="ctr" defTabSz="896354">
              <a:spcAft>
                <a:spcPts val="576"/>
              </a:spcAft>
              <a:defRPr/>
            </a:pPr>
            <a:r>
              <a:rPr lang="en-US" sz="2353">
                <a:solidFill>
                  <a:srgbClr val="000000"/>
                </a:solidFill>
                <a:latin typeface="Segoe UI Semibold"/>
              </a:rPr>
              <a:t>Experienced Developers</a:t>
            </a:r>
          </a:p>
        </p:txBody>
      </p:sp>
      <p:sp>
        <p:nvSpPr>
          <p:cNvPr id="57" name="TextBox 56">
            <a:extLst>
              <a:ext uri="{FF2B5EF4-FFF2-40B4-BE49-F238E27FC236}">
                <a16:creationId xmlns:a16="http://schemas.microsoft.com/office/drawing/2014/main" id="{32CA13DC-1270-4A8E-A335-C4D98234F6B9}"/>
              </a:ext>
            </a:extLst>
          </p:cNvPr>
          <p:cNvSpPr txBox="1"/>
          <p:nvPr/>
        </p:nvSpPr>
        <p:spPr>
          <a:xfrm>
            <a:off x="5069101" y="4277643"/>
            <a:ext cx="915237" cy="887075"/>
          </a:xfrm>
          <a:prstGeom prst="rect">
            <a:avLst/>
          </a:prstGeom>
          <a:noFill/>
        </p:spPr>
        <p:txBody>
          <a:bodyPr wrap="none" lIns="179285" tIns="143428" rIns="179285" bIns="143428" rtlCol="0">
            <a:spAutoFit/>
          </a:bodyPr>
          <a:lstStyle/>
          <a:p>
            <a:pPr algn="r" defTabSz="914367">
              <a:lnSpc>
                <a:spcPct val="90000"/>
              </a:lnSpc>
              <a:spcAft>
                <a:spcPts val="588"/>
              </a:spcAft>
            </a:pPr>
            <a:r>
              <a:rPr lang="en-US" sz="4313">
                <a:solidFill>
                  <a:srgbClr val="742774"/>
                </a:solidFill>
                <a:latin typeface="Segoe UI"/>
              </a:rPr>
              <a:t>4x</a:t>
            </a:r>
          </a:p>
        </p:txBody>
      </p:sp>
      <p:cxnSp>
        <p:nvCxnSpPr>
          <p:cNvPr id="63" name="Straight Connector 62">
            <a:extLst>
              <a:ext uri="{FF2B5EF4-FFF2-40B4-BE49-F238E27FC236}">
                <a16:creationId xmlns:a16="http://schemas.microsoft.com/office/drawing/2014/main" id="{FEBA4B3A-8169-4B1A-B8BF-6B1CFBD4E7FA}"/>
              </a:ext>
            </a:extLst>
          </p:cNvPr>
          <p:cNvCxnSpPr>
            <a:cxnSpLocks/>
          </p:cNvCxnSpPr>
          <p:nvPr/>
        </p:nvCxnSpPr>
        <p:spPr>
          <a:xfrm>
            <a:off x="6324775" y="4721179"/>
            <a:ext cx="5448583"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7" name="Arrow: Chevron 66">
            <a:extLst>
              <a:ext uri="{FF2B5EF4-FFF2-40B4-BE49-F238E27FC236}">
                <a16:creationId xmlns:a16="http://schemas.microsoft.com/office/drawing/2014/main" id="{6F93450F-A06D-45F0-A77B-3565675D59AC}"/>
              </a:ext>
            </a:extLst>
          </p:cNvPr>
          <p:cNvSpPr/>
          <p:nvPr/>
        </p:nvSpPr>
        <p:spPr bwMode="auto">
          <a:xfrm>
            <a:off x="6138961" y="4483627"/>
            <a:ext cx="150616" cy="475105"/>
          </a:xfrm>
          <a:prstGeom prst="chevron">
            <a:avLst>
              <a:gd name="adj" fmla="val 7727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2" name="Group 71">
            <a:extLst>
              <a:ext uri="{FF2B5EF4-FFF2-40B4-BE49-F238E27FC236}">
                <a16:creationId xmlns:a16="http://schemas.microsoft.com/office/drawing/2014/main" id="{6E9BA2A4-942B-456A-B9DA-035A4863894F}"/>
              </a:ext>
            </a:extLst>
          </p:cNvPr>
          <p:cNvGrpSpPr/>
          <p:nvPr/>
        </p:nvGrpSpPr>
        <p:grpSpPr>
          <a:xfrm>
            <a:off x="10802748" y="-124418"/>
            <a:ext cx="1791816" cy="1318993"/>
            <a:chOff x="11352316" y="-155917"/>
            <a:chExt cx="1497542" cy="1102373"/>
          </a:xfrm>
        </p:grpSpPr>
        <p:sp>
          <p:nvSpPr>
            <p:cNvPr id="59" name="Hexagon 58">
              <a:extLst>
                <a:ext uri="{FF2B5EF4-FFF2-40B4-BE49-F238E27FC236}">
                  <a16:creationId xmlns:a16="http://schemas.microsoft.com/office/drawing/2014/main" id="{71689B1D-0415-4B1B-A784-84415BD4CE42}"/>
                </a:ext>
              </a:extLst>
            </p:cNvPr>
            <p:cNvSpPr/>
            <p:nvPr/>
          </p:nvSpPr>
          <p:spPr bwMode="auto">
            <a:xfrm flipH="1" flipV="1">
              <a:off x="11946210" y="-155917"/>
              <a:ext cx="903648" cy="779007"/>
            </a:xfrm>
            <a:prstGeom prst="hexagon">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5" name="Hexagon 64">
              <a:extLst>
                <a:ext uri="{FF2B5EF4-FFF2-40B4-BE49-F238E27FC236}">
                  <a16:creationId xmlns:a16="http://schemas.microsoft.com/office/drawing/2014/main" id="{B1091BA6-A0F7-463D-8052-4CA0466D2840}"/>
                </a:ext>
              </a:extLst>
            </p:cNvPr>
            <p:cNvSpPr/>
            <p:nvPr/>
          </p:nvSpPr>
          <p:spPr bwMode="auto">
            <a:xfrm flipH="1" flipV="1">
              <a:off x="11352316" y="328003"/>
              <a:ext cx="717405" cy="618453"/>
            </a:xfrm>
            <a:prstGeom prst="hexagon">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Hexagon 70">
              <a:extLst>
                <a:ext uri="{FF2B5EF4-FFF2-40B4-BE49-F238E27FC236}">
                  <a16:creationId xmlns:a16="http://schemas.microsoft.com/office/drawing/2014/main" id="{DC920646-B85D-4103-BC03-E6B86480D5B1}"/>
                </a:ext>
              </a:extLst>
            </p:cNvPr>
            <p:cNvSpPr/>
            <p:nvPr/>
          </p:nvSpPr>
          <p:spPr bwMode="auto">
            <a:xfrm>
              <a:off x="11662231" y="58410"/>
              <a:ext cx="743584" cy="641021"/>
            </a:xfrm>
            <a:prstGeom prst="hexagon">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cs typeface="Segoe UI" pitchFamily="34" charset="0"/>
              </a:endParaRPr>
            </a:p>
          </p:txBody>
        </p:sp>
      </p:grpSp>
      <p:grpSp>
        <p:nvGrpSpPr>
          <p:cNvPr id="50" name="Group 49">
            <a:extLst>
              <a:ext uri="{FF2B5EF4-FFF2-40B4-BE49-F238E27FC236}">
                <a16:creationId xmlns:a16="http://schemas.microsoft.com/office/drawing/2014/main" id="{05837F4F-2514-48F3-B891-F86E3FE10228}"/>
              </a:ext>
            </a:extLst>
          </p:cNvPr>
          <p:cNvGrpSpPr/>
          <p:nvPr/>
        </p:nvGrpSpPr>
        <p:grpSpPr>
          <a:xfrm>
            <a:off x="1051535" y="3022333"/>
            <a:ext cx="1523090" cy="1906447"/>
            <a:chOff x="1570196" y="3103723"/>
            <a:chExt cx="1553631" cy="1944675"/>
          </a:xfrm>
        </p:grpSpPr>
        <p:sp>
          <p:nvSpPr>
            <p:cNvPr id="48" name="people_12" title="Icon of three people">
              <a:extLst>
                <a:ext uri="{FF2B5EF4-FFF2-40B4-BE49-F238E27FC236}">
                  <a16:creationId xmlns:a16="http://schemas.microsoft.com/office/drawing/2014/main" id="{BCF28AC6-4B07-4267-B3CF-3DC8C6F2C4E5}"/>
                </a:ext>
              </a:extLst>
            </p:cNvPr>
            <p:cNvSpPr>
              <a:spLocks noChangeAspect="1" noEditPoints="1"/>
            </p:cNvSpPr>
            <p:nvPr/>
          </p:nvSpPr>
          <p:spPr bwMode="auto">
            <a:xfrm>
              <a:off x="1570357" y="3103723"/>
              <a:ext cx="1553308" cy="132524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49" name="Rectangle 48">
              <a:extLst>
                <a:ext uri="{FF2B5EF4-FFF2-40B4-BE49-F238E27FC236}">
                  <a16:creationId xmlns:a16="http://schemas.microsoft.com/office/drawing/2014/main" id="{FD754EED-1279-4531-9DD9-C86211DD467D}"/>
                </a:ext>
              </a:extLst>
            </p:cNvPr>
            <p:cNvSpPr/>
            <p:nvPr/>
          </p:nvSpPr>
          <p:spPr>
            <a:xfrm>
              <a:off x="1570196" y="4586733"/>
              <a:ext cx="1553631" cy="461665"/>
            </a:xfrm>
            <a:prstGeom prst="rect">
              <a:avLst/>
            </a:prstGeom>
            <a:ln>
              <a:noFill/>
            </a:ln>
          </p:spPr>
          <p:txBody>
            <a:bodyPr wrap="none">
              <a:spAutoFit/>
            </a:bodyPr>
            <a:lstStyle/>
            <a:p>
              <a:pPr algn="ctr" defTabSz="896354">
                <a:spcAft>
                  <a:spcPts val="576"/>
                </a:spcAft>
                <a:defRPr/>
              </a:pPr>
              <a:r>
                <a:rPr lang="en-US" sz="2353" kern="0">
                  <a:solidFill>
                    <a:srgbClr val="FFFFFF"/>
                  </a:solidFill>
                  <a:latin typeface="Segoe UI Semibold"/>
                </a:rPr>
                <a:t>End Users</a:t>
              </a:r>
            </a:p>
          </p:txBody>
        </p:sp>
      </p:grpSp>
    </p:spTree>
    <p:extLst>
      <p:ext uri="{BB962C8B-B14F-4D97-AF65-F5344CB8AC3E}">
        <p14:creationId xmlns:p14="http://schemas.microsoft.com/office/powerpoint/2010/main" val="188320804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5261AB-2EB3-4B67-8030-C70DB1B3129B}"/>
              </a:ext>
            </a:extLst>
          </p:cNvPr>
          <p:cNvSpPr>
            <a:spLocks noGrp="1"/>
          </p:cNvSpPr>
          <p:nvPr>
            <p:ph type="title"/>
          </p:nvPr>
        </p:nvSpPr>
        <p:spPr>
          <a:xfrm>
            <a:off x="455995" y="620827"/>
            <a:ext cx="11306469" cy="403079"/>
          </a:xfrm>
        </p:spPr>
        <p:txBody>
          <a:bodyPr/>
          <a:lstStyle/>
          <a:p>
            <a:r>
              <a:rPr lang="en-US"/>
              <a:t>The Growing Number of Developers Creates A New Norm</a:t>
            </a:r>
            <a:endParaRPr lang="en-IN"/>
          </a:p>
        </p:txBody>
      </p:sp>
      <p:sp>
        <p:nvSpPr>
          <p:cNvPr id="6" name="TextBox 5">
            <a:extLst>
              <a:ext uri="{FF2B5EF4-FFF2-40B4-BE49-F238E27FC236}">
                <a16:creationId xmlns:a16="http://schemas.microsoft.com/office/drawing/2014/main" id="{C7205514-B0C3-4924-8722-E77632DF400B}"/>
              </a:ext>
            </a:extLst>
          </p:cNvPr>
          <p:cNvSpPr txBox="1"/>
          <p:nvPr/>
        </p:nvSpPr>
        <p:spPr>
          <a:xfrm>
            <a:off x="455995" y="1149754"/>
            <a:ext cx="11306469" cy="301727"/>
          </a:xfrm>
          <a:prstGeom prst="rect">
            <a:avLst/>
          </a:prstGeom>
          <a:noFill/>
        </p:spPr>
        <p:txBody>
          <a:bodyPr wrap="square" lIns="0" tIns="0" rIns="0" bIns="0" rtlCol="0">
            <a:spAutoFit/>
          </a:bodyPr>
          <a:lstStyle/>
          <a:p>
            <a:pPr defTabSz="896386">
              <a:spcAft>
                <a:spcPts val="588"/>
              </a:spcAft>
              <a:defRPr/>
            </a:pPr>
            <a:r>
              <a:rPr lang="en-US" sz="1961">
                <a:solidFill>
                  <a:srgbClr val="3C3C41"/>
                </a:solidFill>
                <a:latin typeface="Segoe UI"/>
              </a:rPr>
              <a:t>IT must adapt to the growing number of non-technical developers</a:t>
            </a:r>
          </a:p>
        </p:txBody>
      </p:sp>
      <p:sp>
        <p:nvSpPr>
          <p:cNvPr id="22" name="Freeform: Shape 21">
            <a:extLst>
              <a:ext uri="{FF2B5EF4-FFF2-40B4-BE49-F238E27FC236}">
                <a16:creationId xmlns:a16="http://schemas.microsoft.com/office/drawing/2014/main" id="{38E0B3C0-982E-4C53-A4A2-3193B778C81D}"/>
              </a:ext>
            </a:extLst>
          </p:cNvPr>
          <p:cNvSpPr/>
          <p:nvPr/>
        </p:nvSpPr>
        <p:spPr bwMode="auto">
          <a:xfrm>
            <a:off x="9429059" y="488"/>
            <a:ext cx="2762941" cy="6099946"/>
          </a:xfrm>
          <a:custGeom>
            <a:avLst/>
            <a:gdLst>
              <a:gd name="connsiteX0" fmla="*/ 1100932 w 2962122"/>
              <a:gd name="connsiteY0" fmla="*/ 0 h 6539692"/>
              <a:gd name="connsiteX1" fmla="*/ 2962122 w 2962122"/>
              <a:gd name="connsiteY1" fmla="*/ 0 h 6539692"/>
              <a:gd name="connsiteX2" fmla="*/ 2962122 w 2962122"/>
              <a:gd name="connsiteY2" fmla="*/ 6539692 h 6539692"/>
              <a:gd name="connsiteX3" fmla="*/ 2171861 w 2962122"/>
              <a:gd name="connsiteY3" fmla="*/ 6539692 h 6539692"/>
              <a:gd name="connsiteX4" fmla="*/ 1706375 w 2962122"/>
              <a:gd name="connsiteY4" fmla="*/ 5608721 h 6539692"/>
              <a:gd name="connsiteX5" fmla="*/ 1703431 w 2962122"/>
              <a:gd name="connsiteY5" fmla="*/ 5608721 h 6539692"/>
              <a:gd name="connsiteX6" fmla="*/ 0 w 2962122"/>
              <a:gd name="connsiteY6" fmla="*/ 2201862 h 6539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2122" h="6539692">
                <a:moveTo>
                  <a:pt x="1100932" y="0"/>
                </a:moveTo>
                <a:lnTo>
                  <a:pt x="2962122" y="0"/>
                </a:lnTo>
                <a:lnTo>
                  <a:pt x="2962122" y="6539692"/>
                </a:lnTo>
                <a:lnTo>
                  <a:pt x="2171861" y="6539692"/>
                </a:lnTo>
                <a:lnTo>
                  <a:pt x="1706375" y="5608721"/>
                </a:lnTo>
                <a:lnTo>
                  <a:pt x="1703431" y="5608721"/>
                </a:lnTo>
                <a:lnTo>
                  <a:pt x="0" y="2201862"/>
                </a:lnTo>
                <a:close/>
              </a:path>
            </a:pathLst>
          </a:custGeom>
          <a:solidFill>
            <a:schemeClr val="tx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cs typeface="Segoe UI" pitchFamily="34" charset="0"/>
            </a:endParaRPr>
          </a:p>
        </p:txBody>
      </p:sp>
      <p:sp>
        <p:nvSpPr>
          <p:cNvPr id="18" name="Hexagon 17">
            <a:extLst>
              <a:ext uri="{FF2B5EF4-FFF2-40B4-BE49-F238E27FC236}">
                <a16:creationId xmlns:a16="http://schemas.microsoft.com/office/drawing/2014/main" id="{78A2E588-EB56-4B8A-897E-E07BB593FE36}"/>
              </a:ext>
            </a:extLst>
          </p:cNvPr>
          <p:cNvSpPr/>
          <p:nvPr/>
        </p:nvSpPr>
        <p:spPr bwMode="auto">
          <a:xfrm>
            <a:off x="6751308" y="4172449"/>
            <a:ext cx="1039853" cy="896425"/>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server_2" title="Icon of a server with a padlock in the lower right corner">
            <a:extLst>
              <a:ext uri="{FF2B5EF4-FFF2-40B4-BE49-F238E27FC236}">
                <a16:creationId xmlns:a16="http://schemas.microsoft.com/office/drawing/2014/main" id="{671415BE-2498-4E1C-B58A-A99405AE10BF}"/>
              </a:ext>
            </a:extLst>
          </p:cNvPr>
          <p:cNvSpPr>
            <a:spLocks noChangeAspect="1" noEditPoints="1"/>
          </p:cNvSpPr>
          <p:nvPr/>
        </p:nvSpPr>
        <p:spPr bwMode="auto">
          <a:xfrm>
            <a:off x="7106109" y="4415941"/>
            <a:ext cx="330250" cy="409443"/>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a:endParaRPr>
          </a:p>
        </p:txBody>
      </p:sp>
      <p:sp>
        <p:nvSpPr>
          <p:cNvPr id="17" name="Hexagon 16">
            <a:extLst>
              <a:ext uri="{FF2B5EF4-FFF2-40B4-BE49-F238E27FC236}">
                <a16:creationId xmlns:a16="http://schemas.microsoft.com/office/drawing/2014/main" id="{120FC265-B85D-4240-AB64-3480E2015817}"/>
              </a:ext>
            </a:extLst>
          </p:cNvPr>
          <p:cNvSpPr/>
          <p:nvPr/>
        </p:nvSpPr>
        <p:spPr bwMode="auto">
          <a:xfrm>
            <a:off x="6751308" y="3022605"/>
            <a:ext cx="1039853" cy="896425"/>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boy" title="Icon of a man">
            <a:extLst>
              <a:ext uri="{FF2B5EF4-FFF2-40B4-BE49-F238E27FC236}">
                <a16:creationId xmlns:a16="http://schemas.microsoft.com/office/drawing/2014/main" id="{A89C182F-8B05-484A-A9D7-E29B002109EB}"/>
              </a:ext>
            </a:extLst>
          </p:cNvPr>
          <p:cNvSpPr>
            <a:spLocks noChangeAspect="1" noEditPoints="1"/>
          </p:cNvSpPr>
          <p:nvPr/>
        </p:nvSpPr>
        <p:spPr bwMode="auto">
          <a:xfrm>
            <a:off x="7083863" y="3226937"/>
            <a:ext cx="374745" cy="487762"/>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gradFill>
              <a:latin typeface="Segoe UI"/>
            </a:endParaRPr>
          </a:p>
        </p:txBody>
      </p:sp>
      <p:sp>
        <p:nvSpPr>
          <p:cNvPr id="19" name="Hexagon 18">
            <a:extLst>
              <a:ext uri="{FF2B5EF4-FFF2-40B4-BE49-F238E27FC236}">
                <a16:creationId xmlns:a16="http://schemas.microsoft.com/office/drawing/2014/main" id="{65B988BB-B109-498E-881E-EB30F1EEFE8B}"/>
              </a:ext>
            </a:extLst>
          </p:cNvPr>
          <p:cNvSpPr/>
          <p:nvPr/>
        </p:nvSpPr>
        <p:spPr bwMode="auto">
          <a:xfrm>
            <a:off x="6751308" y="5322292"/>
            <a:ext cx="1039853" cy="896425"/>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BarChartVertical_E9EC" title="Icon of a vertical bar graph">
            <a:extLst>
              <a:ext uri="{FF2B5EF4-FFF2-40B4-BE49-F238E27FC236}">
                <a16:creationId xmlns:a16="http://schemas.microsoft.com/office/drawing/2014/main" id="{F0797D2F-257C-4911-8271-AE263533C9DA}"/>
              </a:ext>
            </a:extLst>
          </p:cNvPr>
          <p:cNvSpPr>
            <a:spLocks noChangeAspect="1" noEditPoints="1"/>
          </p:cNvSpPr>
          <p:nvPr/>
        </p:nvSpPr>
        <p:spPr bwMode="auto">
          <a:xfrm>
            <a:off x="7048655" y="5547874"/>
            <a:ext cx="445158" cy="445263"/>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p:sp>
        <p:nvSpPr>
          <p:cNvPr id="8" name="Hexagon 7">
            <a:extLst>
              <a:ext uri="{FF2B5EF4-FFF2-40B4-BE49-F238E27FC236}">
                <a16:creationId xmlns:a16="http://schemas.microsoft.com/office/drawing/2014/main" id="{80BBDEF8-179E-4D17-9069-FCAF6FC8D705}"/>
              </a:ext>
            </a:extLst>
          </p:cNvPr>
          <p:cNvSpPr/>
          <p:nvPr/>
        </p:nvSpPr>
        <p:spPr bwMode="auto">
          <a:xfrm>
            <a:off x="459123" y="3022605"/>
            <a:ext cx="1039853" cy="896425"/>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EMI_E731" title="Icon of a tall rectangular building">
            <a:extLst>
              <a:ext uri="{FF2B5EF4-FFF2-40B4-BE49-F238E27FC236}">
                <a16:creationId xmlns:a16="http://schemas.microsoft.com/office/drawing/2014/main" id="{085025F6-8FBC-4544-A7CD-C3DDAF2D04C6}"/>
              </a:ext>
            </a:extLst>
          </p:cNvPr>
          <p:cNvSpPr>
            <a:spLocks noChangeAspect="1" noEditPoints="1"/>
          </p:cNvSpPr>
          <p:nvPr/>
        </p:nvSpPr>
        <p:spPr bwMode="auto">
          <a:xfrm>
            <a:off x="803300" y="3185286"/>
            <a:ext cx="351500" cy="571065"/>
          </a:xfrm>
          <a:custGeom>
            <a:avLst/>
            <a:gdLst>
              <a:gd name="T0" fmla="*/ 0 w 2523"/>
              <a:gd name="T1" fmla="*/ 0 h 4099"/>
              <a:gd name="T2" fmla="*/ 2523 w 2523"/>
              <a:gd name="T3" fmla="*/ 0 h 4099"/>
              <a:gd name="T4" fmla="*/ 2523 w 2523"/>
              <a:gd name="T5" fmla="*/ 4099 h 4099"/>
              <a:gd name="T6" fmla="*/ 1578 w 2523"/>
              <a:gd name="T7" fmla="*/ 4099 h 4099"/>
              <a:gd name="T8" fmla="*/ 1578 w 2523"/>
              <a:gd name="T9" fmla="*/ 2838 h 4099"/>
              <a:gd name="T10" fmla="*/ 947 w 2523"/>
              <a:gd name="T11" fmla="*/ 2838 h 4099"/>
              <a:gd name="T12" fmla="*/ 947 w 2523"/>
              <a:gd name="T13" fmla="*/ 4099 h 4099"/>
              <a:gd name="T14" fmla="*/ 0 w 2523"/>
              <a:gd name="T15" fmla="*/ 4099 h 4099"/>
              <a:gd name="T16" fmla="*/ 0 w 2523"/>
              <a:gd name="T17" fmla="*/ 0 h 4099"/>
              <a:gd name="T18" fmla="*/ 631 w 2523"/>
              <a:gd name="T19" fmla="*/ 473 h 4099"/>
              <a:gd name="T20" fmla="*/ 631 w 2523"/>
              <a:gd name="T21" fmla="*/ 1104 h 4099"/>
              <a:gd name="T22" fmla="*/ 1262 w 2523"/>
              <a:gd name="T23" fmla="*/ 473 h 4099"/>
              <a:gd name="T24" fmla="*/ 1262 w 2523"/>
              <a:gd name="T25" fmla="*/ 1104 h 4099"/>
              <a:gd name="T26" fmla="*/ 1893 w 2523"/>
              <a:gd name="T27" fmla="*/ 473 h 4099"/>
              <a:gd name="T28" fmla="*/ 1893 w 2523"/>
              <a:gd name="T29" fmla="*/ 1104 h 4099"/>
              <a:gd name="T30" fmla="*/ 631 w 2523"/>
              <a:gd name="T31" fmla="*/ 1419 h 4099"/>
              <a:gd name="T32" fmla="*/ 631 w 2523"/>
              <a:gd name="T33" fmla="*/ 2050 h 4099"/>
              <a:gd name="T34" fmla="*/ 1262 w 2523"/>
              <a:gd name="T35" fmla="*/ 1419 h 4099"/>
              <a:gd name="T36" fmla="*/ 1262 w 2523"/>
              <a:gd name="T37" fmla="*/ 2050 h 4099"/>
              <a:gd name="T38" fmla="*/ 1893 w 2523"/>
              <a:gd name="T39" fmla="*/ 1419 h 4099"/>
              <a:gd name="T40" fmla="*/ 1893 w 2523"/>
              <a:gd name="T41" fmla="*/ 2050 h 4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3" h="4099">
                <a:moveTo>
                  <a:pt x="0" y="0"/>
                </a:moveTo>
                <a:lnTo>
                  <a:pt x="2523" y="0"/>
                </a:lnTo>
                <a:lnTo>
                  <a:pt x="2523" y="4099"/>
                </a:lnTo>
                <a:lnTo>
                  <a:pt x="1578" y="4099"/>
                </a:lnTo>
                <a:lnTo>
                  <a:pt x="1578" y="2838"/>
                </a:lnTo>
                <a:lnTo>
                  <a:pt x="947" y="2838"/>
                </a:lnTo>
                <a:lnTo>
                  <a:pt x="947" y="4099"/>
                </a:lnTo>
                <a:lnTo>
                  <a:pt x="0" y="4099"/>
                </a:lnTo>
                <a:lnTo>
                  <a:pt x="0" y="0"/>
                </a:lnTo>
                <a:moveTo>
                  <a:pt x="631" y="473"/>
                </a:moveTo>
                <a:lnTo>
                  <a:pt x="631" y="1104"/>
                </a:lnTo>
                <a:moveTo>
                  <a:pt x="1262" y="473"/>
                </a:moveTo>
                <a:lnTo>
                  <a:pt x="1262" y="1104"/>
                </a:lnTo>
                <a:moveTo>
                  <a:pt x="1893" y="473"/>
                </a:moveTo>
                <a:lnTo>
                  <a:pt x="1893" y="1104"/>
                </a:lnTo>
                <a:moveTo>
                  <a:pt x="631" y="1419"/>
                </a:moveTo>
                <a:lnTo>
                  <a:pt x="631" y="2050"/>
                </a:lnTo>
                <a:moveTo>
                  <a:pt x="1262" y="1419"/>
                </a:moveTo>
                <a:lnTo>
                  <a:pt x="1262" y="2050"/>
                </a:lnTo>
                <a:moveTo>
                  <a:pt x="1893" y="1419"/>
                </a:moveTo>
                <a:lnTo>
                  <a:pt x="1893" y="205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a:endParaRPr>
          </a:p>
        </p:txBody>
      </p:sp>
      <p:sp>
        <p:nvSpPr>
          <p:cNvPr id="16" name="Hexagon 15">
            <a:extLst>
              <a:ext uri="{FF2B5EF4-FFF2-40B4-BE49-F238E27FC236}">
                <a16:creationId xmlns:a16="http://schemas.microsoft.com/office/drawing/2014/main" id="{07B25E05-E4C4-4079-B1AB-14012A1EDA2F}"/>
              </a:ext>
            </a:extLst>
          </p:cNvPr>
          <p:cNvSpPr/>
          <p:nvPr/>
        </p:nvSpPr>
        <p:spPr bwMode="auto">
          <a:xfrm>
            <a:off x="6751308" y="1872761"/>
            <a:ext cx="1039853" cy="896425"/>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C2032A5E-76D2-4985-A812-C2F44F97B86C}"/>
              </a:ext>
            </a:extLst>
          </p:cNvPr>
          <p:cNvSpPr/>
          <p:nvPr/>
        </p:nvSpPr>
        <p:spPr>
          <a:xfrm>
            <a:off x="7056734" y="2289030"/>
            <a:ext cx="437040" cy="252139"/>
          </a:xfrm>
          <a:custGeom>
            <a:avLst/>
            <a:gdLst>
              <a:gd name="connsiteX0" fmla="*/ 212342 w 247650"/>
              <a:gd name="connsiteY0" fmla="*/ 137848 h 142875"/>
              <a:gd name="connsiteX1" fmla="*/ 234250 w 247650"/>
              <a:gd name="connsiteY1" fmla="*/ 114988 h 142875"/>
              <a:gd name="connsiteX2" fmla="*/ 238060 w 247650"/>
              <a:gd name="connsiteY2" fmla="*/ 80698 h 142875"/>
              <a:gd name="connsiteX3" fmla="*/ 200912 w 247650"/>
              <a:gd name="connsiteY3" fmla="*/ 19738 h 142875"/>
              <a:gd name="connsiteX4" fmla="*/ 179005 w 247650"/>
              <a:gd name="connsiteY4" fmla="*/ 7355 h 142875"/>
              <a:gd name="connsiteX5" fmla="*/ 123760 w 247650"/>
              <a:gd name="connsiteY5" fmla="*/ 7355 h 142875"/>
              <a:gd name="connsiteX6" fmla="*/ 71372 w 247650"/>
              <a:gd name="connsiteY6" fmla="*/ 7355 h 142875"/>
              <a:gd name="connsiteX7" fmla="*/ 48512 w 247650"/>
              <a:gd name="connsiteY7" fmla="*/ 19738 h 142875"/>
              <a:gd name="connsiteX8" fmla="*/ 11365 w 247650"/>
              <a:gd name="connsiteY8" fmla="*/ 80698 h 142875"/>
              <a:gd name="connsiteX9" fmla="*/ 15175 w 247650"/>
              <a:gd name="connsiteY9" fmla="*/ 114988 h 142875"/>
              <a:gd name="connsiteX10" fmla="*/ 37082 w 247650"/>
              <a:gd name="connsiteY10" fmla="*/ 13784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42875">
                <a:moveTo>
                  <a:pt x="212342" y="137848"/>
                </a:moveTo>
                <a:cubicBezTo>
                  <a:pt x="234250" y="114988"/>
                  <a:pt x="234250" y="114988"/>
                  <a:pt x="234250" y="114988"/>
                </a:cubicBezTo>
                <a:cubicBezTo>
                  <a:pt x="242822" y="105463"/>
                  <a:pt x="244727" y="92128"/>
                  <a:pt x="238060" y="80698"/>
                </a:cubicBezTo>
                <a:cubicBezTo>
                  <a:pt x="200912" y="19738"/>
                  <a:pt x="200912" y="19738"/>
                  <a:pt x="200912" y="19738"/>
                </a:cubicBezTo>
                <a:cubicBezTo>
                  <a:pt x="196150" y="12118"/>
                  <a:pt x="187577" y="7355"/>
                  <a:pt x="179005" y="7355"/>
                </a:cubicBezTo>
                <a:cubicBezTo>
                  <a:pt x="123760" y="7355"/>
                  <a:pt x="123760" y="7355"/>
                  <a:pt x="123760" y="7355"/>
                </a:cubicBezTo>
                <a:cubicBezTo>
                  <a:pt x="71372" y="7355"/>
                  <a:pt x="71372" y="7355"/>
                  <a:pt x="71372" y="7355"/>
                </a:cubicBezTo>
                <a:cubicBezTo>
                  <a:pt x="61847" y="7355"/>
                  <a:pt x="54227" y="12118"/>
                  <a:pt x="48512" y="19738"/>
                </a:cubicBezTo>
                <a:cubicBezTo>
                  <a:pt x="11365" y="80698"/>
                  <a:pt x="11365" y="80698"/>
                  <a:pt x="11365" y="80698"/>
                </a:cubicBezTo>
                <a:cubicBezTo>
                  <a:pt x="4697" y="91175"/>
                  <a:pt x="6602" y="105463"/>
                  <a:pt x="15175" y="114988"/>
                </a:cubicBezTo>
                <a:cubicBezTo>
                  <a:pt x="37082" y="137848"/>
                  <a:pt x="37082" y="137848"/>
                  <a:pt x="37082" y="1378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endParaRPr lang="en-US" sz="882">
              <a:gradFill>
                <a:gsLst>
                  <a:gs pos="0">
                    <a:srgbClr val="505050"/>
                  </a:gs>
                  <a:gs pos="100000">
                    <a:srgbClr val="505050"/>
                  </a:gs>
                </a:gsLst>
                <a:lin ang="5400000" scaled="1"/>
              </a:gradFill>
              <a:latin typeface="Segoe UI"/>
            </a:endParaRPr>
          </a:p>
        </p:txBody>
      </p:sp>
      <p:sp>
        <p:nvSpPr>
          <p:cNvPr id="36" name="Freeform: Shape 35">
            <a:extLst>
              <a:ext uri="{FF2B5EF4-FFF2-40B4-BE49-F238E27FC236}">
                <a16:creationId xmlns:a16="http://schemas.microsoft.com/office/drawing/2014/main" id="{57DBF27D-B8F0-4F6A-BF7C-35441FC7C017}"/>
              </a:ext>
            </a:extLst>
          </p:cNvPr>
          <p:cNvSpPr/>
          <p:nvPr/>
        </p:nvSpPr>
        <p:spPr>
          <a:xfrm>
            <a:off x="7132729" y="2386525"/>
            <a:ext cx="285757" cy="168092"/>
          </a:xfrm>
          <a:custGeom>
            <a:avLst/>
            <a:gdLst>
              <a:gd name="connsiteX0" fmla="*/ 150230 w 161925"/>
              <a:gd name="connsiteY0" fmla="*/ 94985 h 95250"/>
              <a:gd name="connsiteX1" fmla="*/ 13070 w 161925"/>
              <a:gd name="connsiteY1" fmla="*/ 94985 h 95250"/>
              <a:gd name="connsiteX2" fmla="*/ 7355 w 161925"/>
              <a:gd name="connsiteY2" fmla="*/ 89270 h 95250"/>
              <a:gd name="connsiteX3" fmla="*/ 7355 w 161925"/>
              <a:gd name="connsiteY3" fmla="*/ 13070 h 95250"/>
              <a:gd name="connsiteX4" fmla="*/ 13070 w 161925"/>
              <a:gd name="connsiteY4" fmla="*/ 7355 h 95250"/>
              <a:gd name="connsiteX5" fmla="*/ 150230 w 161925"/>
              <a:gd name="connsiteY5" fmla="*/ 7355 h 95250"/>
              <a:gd name="connsiteX6" fmla="*/ 155945 w 161925"/>
              <a:gd name="connsiteY6" fmla="*/ 13070 h 95250"/>
              <a:gd name="connsiteX7" fmla="*/ 155945 w 161925"/>
              <a:gd name="connsiteY7" fmla="*/ 89270 h 95250"/>
              <a:gd name="connsiteX8" fmla="*/ 150230 w 161925"/>
              <a:gd name="connsiteY8" fmla="*/ 94985 h 95250"/>
              <a:gd name="connsiteX9" fmla="*/ 150230 w 161925"/>
              <a:gd name="connsiteY9" fmla="*/ 9498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95250">
                <a:moveTo>
                  <a:pt x="150230" y="94985"/>
                </a:moveTo>
                <a:cubicBezTo>
                  <a:pt x="13070" y="94985"/>
                  <a:pt x="13070" y="94985"/>
                  <a:pt x="13070" y="94985"/>
                </a:cubicBezTo>
                <a:cubicBezTo>
                  <a:pt x="10213" y="94985"/>
                  <a:pt x="7355" y="92128"/>
                  <a:pt x="7355" y="89270"/>
                </a:cubicBezTo>
                <a:cubicBezTo>
                  <a:pt x="7355" y="13070"/>
                  <a:pt x="7355" y="13070"/>
                  <a:pt x="7355" y="13070"/>
                </a:cubicBezTo>
                <a:cubicBezTo>
                  <a:pt x="7355" y="10213"/>
                  <a:pt x="10213" y="7355"/>
                  <a:pt x="13070" y="7355"/>
                </a:cubicBezTo>
                <a:cubicBezTo>
                  <a:pt x="150230" y="7355"/>
                  <a:pt x="150230" y="7355"/>
                  <a:pt x="150230" y="7355"/>
                </a:cubicBezTo>
                <a:cubicBezTo>
                  <a:pt x="153088" y="7355"/>
                  <a:pt x="155945" y="10213"/>
                  <a:pt x="155945" y="13070"/>
                </a:cubicBezTo>
                <a:cubicBezTo>
                  <a:pt x="155945" y="89270"/>
                  <a:pt x="155945" y="89270"/>
                  <a:pt x="155945" y="89270"/>
                </a:cubicBezTo>
                <a:cubicBezTo>
                  <a:pt x="155945" y="93080"/>
                  <a:pt x="154040" y="94985"/>
                  <a:pt x="150230" y="94985"/>
                </a:cubicBezTo>
                <a:lnTo>
                  <a:pt x="150230" y="9498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endParaRPr lang="en-US" sz="882">
              <a:gradFill>
                <a:gsLst>
                  <a:gs pos="0">
                    <a:srgbClr val="505050"/>
                  </a:gs>
                  <a:gs pos="100000">
                    <a:srgbClr val="505050"/>
                  </a:gs>
                </a:gsLst>
                <a:lin ang="5400000" scaled="1"/>
              </a:gradFill>
              <a:latin typeface="Segoe UI"/>
            </a:endParaRPr>
          </a:p>
        </p:txBody>
      </p:sp>
      <p:sp>
        <p:nvSpPr>
          <p:cNvPr id="37" name="Freeform: Shape 36">
            <a:extLst>
              <a:ext uri="{FF2B5EF4-FFF2-40B4-BE49-F238E27FC236}">
                <a16:creationId xmlns:a16="http://schemas.microsoft.com/office/drawing/2014/main" id="{14AEA118-F921-490E-91C9-EC27489C4045}"/>
              </a:ext>
            </a:extLst>
          </p:cNvPr>
          <p:cNvSpPr/>
          <p:nvPr/>
        </p:nvSpPr>
        <p:spPr>
          <a:xfrm>
            <a:off x="7082301" y="2578149"/>
            <a:ext cx="386613" cy="16809"/>
          </a:xfrm>
          <a:custGeom>
            <a:avLst/>
            <a:gdLst>
              <a:gd name="connsiteX0" fmla="*/ 7355 w 219075"/>
              <a:gd name="connsiteY0" fmla="*/ 7355 h 9525"/>
              <a:gd name="connsiteX1" fmla="*/ 214048 w 219075"/>
              <a:gd name="connsiteY1" fmla="*/ 7355 h 9525"/>
            </a:gdLst>
            <a:ahLst/>
            <a:cxnLst>
              <a:cxn ang="0">
                <a:pos x="connsiteX0" y="connsiteY0"/>
              </a:cxn>
              <a:cxn ang="0">
                <a:pos x="connsiteX1" y="connsiteY1"/>
              </a:cxn>
            </a:cxnLst>
            <a:rect l="l" t="t" r="r" b="b"/>
            <a:pathLst>
              <a:path w="219075" h="9525">
                <a:moveTo>
                  <a:pt x="7355" y="7355"/>
                </a:moveTo>
                <a:lnTo>
                  <a:pt x="214048" y="7355"/>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endParaRPr lang="en-US" sz="882">
              <a:gradFill>
                <a:gsLst>
                  <a:gs pos="0">
                    <a:srgbClr val="505050"/>
                  </a:gs>
                  <a:gs pos="100000">
                    <a:srgbClr val="505050"/>
                  </a:gs>
                </a:gsLst>
                <a:lin ang="5400000" scaled="1"/>
              </a:gradFill>
              <a:latin typeface="Segoe UI"/>
            </a:endParaRPr>
          </a:p>
        </p:txBody>
      </p:sp>
      <p:sp>
        <p:nvSpPr>
          <p:cNvPr id="38" name="Freeform: Shape 37">
            <a:extLst>
              <a:ext uri="{FF2B5EF4-FFF2-40B4-BE49-F238E27FC236}">
                <a16:creationId xmlns:a16="http://schemas.microsoft.com/office/drawing/2014/main" id="{281F74D5-0CD5-42B1-8F88-47EA8BF72E88}"/>
              </a:ext>
            </a:extLst>
          </p:cNvPr>
          <p:cNvSpPr/>
          <p:nvPr/>
        </p:nvSpPr>
        <p:spPr>
          <a:xfrm>
            <a:off x="7184836" y="2078914"/>
            <a:ext cx="184901" cy="184901"/>
          </a:xfrm>
          <a:custGeom>
            <a:avLst/>
            <a:gdLst>
              <a:gd name="connsiteX0" fmla="*/ 7355 w 104775"/>
              <a:gd name="connsiteY0" fmla="*/ 54980 h 104775"/>
              <a:gd name="connsiteX1" fmla="*/ 53075 w 104775"/>
              <a:gd name="connsiteY1" fmla="*/ 7355 h 104775"/>
              <a:gd name="connsiteX2" fmla="*/ 98795 w 104775"/>
              <a:gd name="connsiteY2" fmla="*/ 54980 h 104775"/>
              <a:gd name="connsiteX3" fmla="*/ 53075 w 104775"/>
              <a:gd name="connsiteY3" fmla="*/ 102605 h 104775"/>
              <a:gd name="connsiteX4" fmla="*/ 7355 w 104775"/>
              <a:gd name="connsiteY4" fmla="*/ 54980 h 104775"/>
              <a:gd name="connsiteX5" fmla="*/ 7355 w 104775"/>
              <a:gd name="connsiteY5" fmla="*/ 549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04775">
                <a:moveTo>
                  <a:pt x="7355" y="54980"/>
                </a:moveTo>
                <a:cubicBezTo>
                  <a:pt x="7355" y="28310"/>
                  <a:pt x="27358" y="7355"/>
                  <a:pt x="53075" y="7355"/>
                </a:cubicBezTo>
                <a:cubicBezTo>
                  <a:pt x="78793" y="7355"/>
                  <a:pt x="98795" y="29263"/>
                  <a:pt x="98795" y="54980"/>
                </a:cubicBezTo>
                <a:cubicBezTo>
                  <a:pt x="98795" y="81650"/>
                  <a:pt x="78793" y="102605"/>
                  <a:pt x="53075" y="102605"/>
                </a:cubicBezTo>
                <a:cubicBezTo>
                  <a:pt x="27358" y="102605"/>
                  <a:pt x="7355" y="80698"/>
                  <a:pt x="7355" y="54980"/>
                </a:cubicBezTo>
                <a:lnTo>
                  <a:pt x="7355" y="54980"/>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endParaRPr lang="en-US" sz="882">
              <a:gradFill>
                <a:gsLst>
                  <a:gs pos="0">
                    <a:srgbClr val="505050"/>
                  </a:gs>
                  <a:gs pos="100000">
                    <a:srgbClr val="505050"/>
                  </a:gs>
                </a:gsLst>
                <a:lin ang="5400000" scaled="1"/>
              </a:gradFill>
              <a:latin typeface="Segoe UI"/>
            </a:endParaRPr>
          </a:p>
        </p:txBody>
      </p:sp>
      <p:sp>
        <p:nvSpPr>
          <p:cNvPr id="39" name="Freeform: Shape 38">
            <a:extLst>
              <a:ext uri="{FF2B5EF4-FFF2-40B4-BE49-F238E27FC236}">
                <a16:creationId xmlns:a16="http://schemas.microsoft.com/office/drawing/2014/main" id="{7D3B79C6-8679-4C6F-98A3-4EBA3D30EB40}"/>
              </a:ext>
            </a:extLst>
          </p:cNvPr>
          <p:cNvSpPr/>
          <p:nvPr/>
        </p:nvSpPr>
        <p:spPr>
          <a:xfrm>
            <a:off x="7048694" y="2046989"/>
            <a:ext cx="16809" cy="16809"/>
          </a:xfrm>
          <a:custGeom>
            <a:avLst/>
            <a:gdLst/>
            <a:ahLst/>
            <a:cxnLst/>
            <a:rect l="l" t="t" r="r" b="b"/>
            <a:pathLst>
              <a:path w="9525" h="9525"/>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endParaRPr lang="en-US" sz="882">
              <a:gradFill>
                <a:gsLst>
                  <a:gs pos="0">
                    <a:srgbClr val="505050"/>
                  </a:gs>
                  <a:gs pos="100000">
                    <a:srgbClr val="505050"/>
                  </a:gs>
                </a:gsLst>
                <a:lin ang="5400000" scaled="1"/>
              </a:gradFill>
              <a:latin typeface="Segoe UI"/>
            </a:endParaRPr>
          </a:p>
        </p:txBody>
      </p:sp>
      <p:sp>
        <p:nvSpPr>
          <p:cNvPr id="40" name="Freeform: Shape 39">
            <a:extLst>
              <a:ext uri="{FF2B5EF4-FFF2-40B4-BE49-F238E27FC236}">
                <a16:creationId xmlns:a16="http://schemas.microsoft.com/office/drawing/2014/main" id="{C06A0324-9596-43D4-A12A-9F3BE728168B}"/>
              </a:ext>
            </a:extLst>
          </p:cNvPr>
          <p:cNvSpPr/>
          <p:nvPr/>
        </p:nvSpPr>
        <p:spPr>
          <a:xfrm>
            <a:off x="7049054" y="2047349"/>
            <a:ext cx="16809" cy="16809"/>
          </a:xfrm>
          <a:custGeom>
            <a:avLst/>
            <a:gdLst/>
            <a:ahLst/>
            <a:cxnLst/>
            <a:rect l="l" t="t" r="r" b="b"/>
            <a:pathLst>
              <a:path w="9525" h="9525"/>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endParaRPr lang="en-US" sz="882">
              <a:gradFill>
                <a:gsLst>
                  <a:gs pos="0">
                    <a:srgbClr val="505050"/>
                  </a:gs>
                  <a:gs pos="100000">
                    <a:srgbClr val="505050"/>
                  </a:gs>
                </a:gsLst>
                <a:lin ang="5400000" scaled="1"/>
              </a:gradFill>
              <a:latin typeface="Segoe UI"/>
            </a:endParaRPr>
          </a:p>
        </p:txBody>
      </p:sp>
      <p:sp>
        <p:nvSpPr>
          <p:cNvPr id="41" name="Freeform: Shape 40">
            <a:extLst>
              <a:ext uri="{FF2B5EF4-FFF2-40B4-BE49-F238E27FC236}">
                <a16:creationId xmlns:a16="http://schemas.microsoft.com/office/drawing/2014/main" id="{626DB821-EB6E-4FBB-ABE8-8E694CD544D4}"/>
              </a:ext>
            </a:extLst>
          </p:cNvPr>
          <p:cNvSpPr/>
          <p:nvPr/>
        </p:nvSpPr>
        <p:spPr>
          <a:xfrm>
            <a:off x="7048694" y="2046989"/>
            <a:ext cx="16809" cy="16809"/>
          </a:xfrm>
          <a:custGeom>
            <a:avLst/>
            <a:gdLst/>
            <a:ahLst/>
            <a:cxnLst/>
            <a:rect l="l" t="t" r="r" b="b"/>
            <a:pathLst>
              <a:path w="9525" h="9525"/>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endParaRPr lang="en-US" sz="882">
              <a:gradFill>
                <a:gsLst>
                  <a:gs pos="0">
                    <a:srgbClr val="505050"/>
                  </a:gs>
                  <a:gs pos="100000">
                    <a:srgbClr val="505050"/>
                  </a:gs>
                </a:gsLst>
                <a:lin ang="5400000" scaled="1"/>
              </a:gradFill>
              <a:latin typeface="Segoe UI"/>
            </a:endParaRPr>
          </a:p>
        </p:txBody>
      </p:sp>
      <p:sp>
        <p:nvSpPr>
          <p:cNvPr id="42" name="Hexagon 41">
            <a:extLst>
              <a:ext uri="{FF2B5EF4-FFF2-40B4-BE49-F238E27FC236}">
                <a16:creationId xmlns:a16="http://schemas.microsoft.com/office/drawing/2014/main" id="{C2D79327-B3AE-4DF1-ABFB-BD12E64D8D98}"/>
              </a:ext>
            </a:extLst>
          </p:cNvPr>
          <p:cNvSpPr/>
          <p:nvPr/>
        </p:nvSpPr>
        <p:spPr bwMode="auto">
          <a:xfrm>
            <a:off x="8822890" y="3160072"/>
            <a:ext cx="3115371" cy="2685665"/>
          </a:xfrm>
          <a:prstGeom prst="hexagon">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cs typeface="Segoe UI" pitchFamily="34" charset="0"/>
            </a:endParaRPr>
          </a:p>
        </p:txBody>
      </p:sp>
      <p:sp>
        <p:nvSpPr>
          <p:cNvPr id="7" name="Hexagon 6">
            <a:extLst>
              <a:ext uri="{FF2B5EF4-FFF2-40B4-BE49-F238E27FC236}">
                <a16:creationId xmlns:a16="http://schemas.microsoft.com/office/drawing/2014/main" id="{713B8DE7-7D7D-4040-84BB-2B69931A5D21}"/>
              </a:ext>
            </a:extLst>
          </p:cNvPr>
          <p:cNvSpPr/>
          <p:nvPr/>
        </p:nvSpPr>
        <p:spPr bwMode="auto">
          <a:xfrm>
            <a:off x="459123" y="1872761"/>
            <a:ext cx="1039853" cy="896425"/>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FDE5B45E-08FB-4202-A425-973FFA107998}"/>
              </a:ext>
            </a:extLst>
          </p:cNvPr>
          <p:cNvGrpSpPr/>
          <p:nvPr/>
        </p:nvGrpSpPr>
        <p:grpSpPr>
          <a:xfrm>
            <a:off x="686972" y="2152768"/>
            <a:ext cx="584157" cy="336416"/>
            <a:chOff x="8500691" y="3331800"/>
            <a:chExt cx="545791" cy="314325"/>
          </a:xfrm>
        </p:grpSpPr>
        <p:sp>
          <p:nvSpPr>
            <p:cNvPr id="45" name="Freeform: Shape 44">
              <a:extLst>
                <a:ext uri="{FF2B5EF4-FFF2-40B4-BE49-F238E27FC236}">
                  <a16:creationId xmlns:a16="http://schemas.microsoft.com/office/drawing/2014/main" id="{4BA9F5BC-C75B-47E0-9CAB-E044DB2A73F2}"/>
                </a:ext>
              </a:extLst>
            </p:cNvPr>
            <p:cNvSpPr/>
            <p:nvPr/>
          </p:nvSpPr>
          <p:spPr>
            <a:xfrm>
              <a:off x="8500691" y="3331800"/>
              <a:ext cx="257174" cy="314325"/>
            </a:xfrm>
            <a:custGeom>
              <a:avLst/>
              <a:gdLst>
                <a:gd name="connsiteX0" fmla="*/ 44495 w 257175"/>
                <a:gd name="connsiteY0" fmla="*/ 93073 h 314325"/>
                <a:gd name="connsiteX1" fmla="*/ 134030 w 257175"/>
                <a:gd name="connsiteY1" fmla="*/ 7348 h 314325"/>
                <a:gd name="connsiteX2" fmla="*/ 223565 w 257175"/>
                <a:gd name="connsiteY2" fmla="*/ 93073 h 314325"/>
                <a:gd name="connsiteX3" fmla="*/ 134030 w 257175"/>
                <a:gd name="connsiteY3" fmla="*/ 178798 h 314325"/>
                <a:gd name="connsiteX4" fmla="*/ 44495 w 257175"/>
                <a:gd name="connsiteY4" fmla="*/ 93073 h 314325"/>
                <a:gd name="connsiteX5" fmla="*/ 44495 w 257175"/>
                <a:gd name="connsiteY5" fmla="*/ 93073 h 314325"/>
                <a:gd name="connsiteX6" fmla="*/ 251188 w 257175"/>
                <a:gd name="connsiteY6" fmla="*/ 312148 h 314325"/>
                <a:gd name="connsiteX7" fmla="*/ 131173 w 257175"/>
                <a:gd name="connsiteY7" fmla="*/ 178798 h 314325"/>
                <a:gd name="connsiteX8" fmla="*/ 7348 w 257175"/>
                <a:gd name="connsiteY8" fmla="*/ 31214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14325">
                  <a:moveTo>
                    <a:pt x="44495" y="93073"/>
                  </a:moveTo>
                  <a:cubicBezTo>
                    <a:pt x="44495" y="45448"/>
                    <a:pt x="84500" y="7348"/>
                    <a:pt x="134030" y="7348"/>
                  </a:cubicBezTo>
                  <a:cubicBezTo>
                    <a:pt x="183561" y="7348"/>
                    <a:pt x="223565" y="45448"/>
                    <a:pt x="223565" y="93073"/>
                  </a:cubicBezTo>
                  <a:cubicBezTo>
                    <a:pt x="223565" y="140698"/>
                    <a:pt x="183561" y="178798"/>
                    <a:pt x="134030" y="178798"/>
                  </a:cubicBezTo>
                  <a:cubicBezTo>
                    <a:pt x="84500" y="178798"/>
                    <a:pt x="44495" y="140698"/>
                    <a:pt x="44495" y="93073"/>
                  </a:cubicBezTo>
                  <a:lnTo>
                    <a:pt x="44495" y="93073"/>
                  </a:lnTo>
                  <a:close/>
                  <a:moveTo>
                    <a:pt x="251188" y="312148"/>
                  </a:moveTo>
                  <a:cubicBezTo>
                    <a:pt x="251188" y="241663"/>
                    <a:pt x="197848" y="178798"/>
                    <a:pt x="131173" y="178798"/>
                  </a:cubicBezTo>
                  <a:cubicBezTo>
                    <a:pt x="60688" y="178798"/>
                    <a:pt x="7348" y="240711"/>
                    <a:pt x="7348" y="31214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endParaRPr lang="en-US" sz="882">
                <a:gradFill>
                  <a:gsLst>
                    <a:gs pos="0">
                      <a:srgbClr val="505050"/>
                    </a:gs>
                    <a:gs pos="100000">
                      <a:srgbClr val="505050"/>
                    </a:gs>
                  </a:gsLst>
                  <a:lin ang="5400000" scaled="1"/>
                </a:gradFill>
                <a:latin typeface="Segoe UI"/>
              </a:endParaRPr>
            </a:p>
          </p:txBody>
        </p:sp>
        <p:sp>
          <p:nvSpPr>
            <p:cNvPr id="46" name="Freeform: Shape 45">
              <a:extLst>
                <a:ext uri="{FF2B5EF4-FFF2-40B4-BE49-F238E27FC236}">
                  <a16:creationId xmlns:a16="http://schemas.microsoft.com/office/drawing/2014/main" id="{E7001B46-88C5-4C68-B1F2-DBA1505D9CB9}"/>
                </a:ext>
              </a:extLst>
            </p:cNvPr>
            <p:cNvSpPr/>
            <p:nvPr/>
          </p:nvSpPr>
          <p:spPr>
            <a:xfrm>
              <a:off x="8703577" y="3370848"/>
              <a:ext cx="257174" cy="190500"/>
            </a:xfrm>
            <a:custGeom>
              <a:avLst/>
              <a:gdLst>
                <a:gd name="connsiteX0" fmla="*/ 23541 w 257175"/>
                <a:gd name="connsiteY0" fmla="*/ 187371 h 190500"/>
                <a:gd name="connsiteX1" fmla="*/ 251188 w 257175"/>
                <a:gd name="connsiteY1" fmla="*/ 187371 h 190500"/>
                <a:gd name="connsiteX2" fmla="*/ 251188 w 257175"/>
                <a:gd name="connsiteY2" fmla="*/ 7348 h 190500"/>
                <a:gd name="connsiteX3" fmla="*/ 7348 w 257175"/>
                <a:gd name="connsiteY3" fmla="*/ 7348 h 190500"/>
              </a:gdLst>
              <a:ahLst/>
              <a:cxnLst>
                <a:cxn ang="0">
                  <a:pos x="connsiteX0" y="connsiteY0"/>
                </a:cxn>
                <a:cxn ang="0">
                  <a:pos x="connsiteX1" y="connsiteY1"/>
                </a:cxn>
                <a:cxn ang="0">
                  <a:pos x="connsiteX2" y="connsiteY2"/>
                </a:cxn>
                <a:cxn ang="0">
                  <a:pos x="connsiteX3" y="connsiteY3"/>
                </a:cxn>
              </a:cxnLst>
              <a:rect l="l" t="t" r="r" b="b"/>
              <a:pathLst>
                <a:path w="257175" h="190500">
                  <a:moveTo>
                    <a:pt x="23541" y="187371"/>
                  </a:moveTo>
                  <a:lnTo>
                    <a:pt x="251188" y="187371"/>
                  </a:lnTo>
                  <a:lnTo>
                    <a:pt x="251188" y="7348"/>
                  </a:lnTo>
                  <a:lnTo>
                    <a:pt x="7348" y="734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endParaRPr lang="en-US" sz="882">
                <a:gradFill>
                  <a:gsLst>
                    <a:gs pos="0">
                      <a:srgbClr val="505050"/>
                    </a:gs>
                    <a:gs pos="100000">
                      <a:srgbClr val="505050"/>
                    </a:gs>
                  </a:gsLst>
                  <a:lin ang="5400000" scaled="1"/>
                </a:gradFill>
                <a:latin typeface="Segoe UI"/>
              </a:endParaRPr>
            </a:p>
          </p:txBody>
        </p:sp>
        <p:sp>
          <p:nvSpPr>
            <p:cNvPr id="47" name="Freeform: Shape 46">
              <a:extLst>
                <a:ext uri="{FF2B5EF4-FFF2-40B4-BE49-F238E27FC236}">
                  <a16:creationId xmlns:a16="http://schemas.microsoft.com/office/drawing/2014/main" id="{CFB8A0F3-CC4F-46FD-93F4-5844DEDCBEA2}"/>
                </a:ext>
              </a:extLst>
            </p:cNvPr>
            <p:cNvSpPr/>
            <p:nvPr/>
          </p:nvSpPr>
          <p:spPr>
            <a:xfrm>
              <a:off x="8913126" y="3408000"/>
              <a:ext cx="133350" cy="219076"/>
            </a:xfrm>
            <a:custGeom>
              <a:avLst/>
              <a:gdLst>
                <a:gd name="connsiteX0" fmla="*/ 46400 w 133350"/>
                <a:gd name="connsiteY0" fmla="*/ 7348 h 219075"/>
                <a:gd name="connsiteX1" fmla="*/ 129268 w 133350"/>
                <a:gd name="connsiteY1" fmla="*/ 7348 h 219075"/>
                <a:gd name="connsiteX2" fmla="*/ 129268 w 133350"/>
                <a:gd name="connsiteY2" fmla="*/ 216898 h 219075"/>
                <a:gd name="connsiteX3" fmla="*/ 7348 w 133350"/>
                <a:gd name="connsiteY3" fmla="*/ 216898 h 219075"/>
                <a:gd name="connsiteX4" fmla="*/ 7348 w 133350"/>
                <a:gd name="connsiteY4" fmla="*/ 153081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219075">
                  <a:moveTo>
                    <a:pt x="46400" y="7348"/>
                  </a:moveTo>
                  <a:lnTo>
                    <a:pt x="129268" y="7348"/>
                  </a:lnTo>
                  <a:lnTo>
                    <a:pt x="129268" y="216898"/>
                  </a:lnTo>
                  <a:lnTo>
                    <a:pt x="7348" y="216898"/>
                  </a:lnTo>
                  <a:lnTo>
                    <a:pt x="7348" y="15308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endParaRPr lang="en-US" sz="882">
                <a:gradFill>
                  <a:gsLst>
                    <a:gs pos="0">
                      <a:srgbClr val="505050"/>
                    </a:gs>
                    <a:gs pos="100000">
                      <a:srgbClr val="505050"/>
                    </a:gs>
                  </a:gsLst>
                  <a:lin ang="5400000" scaled="1"/>
                </a:gradFill>
                <a:latin typeface="Segoe UI"/>
              </a:endParaRPr>
            </a:p>
          </p:txBody>
        </p:sp>
        <p:sp>
          <p:nvSpPr>
            <p:cNvPr id="48" name="Freeform: Shape 47">
              <a:extLst>
                <a:ext uri="{FF2B5EF4-FFF2-40B4-BE49-F238E27FC236}">
                  <a16:creationId xmlns:a16="http://schemas.microsoft.com/office/drawing/2014/main" id="{E218BBA4-3EB5-4854-8E6F-40BAA2247593}"/>
                </a:ext>
              </a:extLst>
            </p:cNvPr>
            <p:cNvSpPr/>
            <p:nvPr/>
          </p:nvSpPr>
          <p:spPr>
            <a:xfrm>
              <a:off x="8744521" y="3552775"/>
              <a:ext cx="133350" cy="76200"/>
            </a:xfrm>
            <a:custGeom>
              <a:avLst/>
              <a:gdLst>
                <a:gd name="connsiteX0" fmla="*/ 73071 w 133350"/>
                <a:gd name="connsiteY0" fmla="*/ 72118 h 76200"/>
                <a:gd name="connsiteX1" fmla="*/ 73071 w 133350"/>
                <a:gd name="connsiteY1" fmla="*/ 7348 h 76200"/>
                <a:gd name="connsiteX2" fmla="*/ 129268 w 133350"/>
                <a:gd name="connsiteY2" fmla="*/ 72118 h 76200"/>
                <a:gd name="connsiteX3" fmla="*/ 7348 w 133350"/>
                <a:gd name="connsiteY3" fmla="*/ 72118 h 76200"/>
              </a:gdLst>
              <a:ahLst/>
              <a:cxnLst>
                <a:cxn ang="0">
                  <a:pos x="connsiteX0" y="connsiteY0"/>
                </a:cxn>
                <a:cxn ang="0">
                  <a:pos x="connsiteX1" y="connsiteY1"/>
                </a:cxn>
                <a:cxn ang="0">
                  <a:pos x="connsiteX2" y="connsiteY2"/>
                </a:cxn>
                <a:cxn ang="0">
                  <a:pos x="connsiteX3" y="connsiteY3"/>
                </a:cxn>
              </a:cxnLst>
              <a:rect l="l" t="t" r="r" b="b"/>
              <a:pathLst>
                <a:path w="133350" h="76200">
                  <a:moveTo>
                    <a:pt x="73071" y="72118"/>
                  </a:moveTo>
                  <a:lnTo>
                    <a:pt x="73071" y="7348"/>
                  </a:lnTo>
                  <a:moveTo>
                    <a:pt x="129268" y="72118"/>
                  </a:moveTo>
                  <a:lnTo>
                    <a:pt x="7348" y="7211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endParaRPr lang="en-US" sz="882">
                <a:gradFill>
                  <a:gsLst>
                    <a:gs pos="0">
                      <a:srgbClr val="505050"/>
                    </a:gs>
                    <a:gs pos="100000">
                      <a:srgbClr val="505050"/>
                    </a:gs>
                  </a:gsLst>
                  <a:lin ang="5400000" scaled="1"/>
                </a:gradFill>
                <a:latin typeface="Segoe UI"/>
              </a:endParaRPr>
            </a:p>
          </p:txBody>
        </p:sp>
        <p:sp>
          <p:nvSpPr>
            <p:cNvPr id="49" name="Freeform: Shape 48">
              <a:extLst>
                <a:ext uri="{FF2B5EF4-FFF2-40B4-BE49-F238E27FC236}">
                  <a16:creationId xmlns:a16="http://schemas.microsoft.com/office/drawing/2014/main" id="{83D00184-685D-439C-995C-CC34E40265EA}"/>
                </a:ext>
              </a:extLst>
            </p:cNvPr>
            <p:cNvSpPr/>
            <p:nvPr/>
          </p:nvSpPr>
          <p:spPr>
            <a:xfrm>
              <a:off x="8951232" y="3474673"/>
              <a:ext cx="95250" cy="66675"/>
            </a:xfrm>
            <a:custGeom>
              <a:avLst/>
              <a:gdLst>
                <a:gd name="connsiteX0" fmla="*/ 91168 w 95250"/>
                <a:gd name="connsiteY0" fmla="*/ 7348 h 66675"/>
                <a:gd name="connsiteX1" fmla="*/ 7348 w 95250"/>
                <a:gd name="connsiteY1" fmla="*/ 7348 h 66675"/>
                <a:gd name="connsiteX2" fmla="*/ 91168 w 95250"/>
                <a:gd name="connsiteY2" fmla="*/ 64498 h 66675"/>
                <a:gd name="connsiteX3" fmla="*/ 7348 w 95250"/>
                <a:gd name="connsiteY3" fmla="*/ 64498 h 66675"/>
              </a:gdLst>
              <a:ahLst/>
              <a:cxnLst>
                <a:cxn ang="0">
                  <a:pos x="connsiteX0" y="connsiteY0"/>
                </a:cxn>
                <a:cxn ang="0">
                  <a:pos x="connsiteX1" y="connsiteY1"/>
                </a:cxn>
                <a:cxn ang="0">
                  <a:pos x="connsiteX2" y="connsiteY2"/>
                </a:cxn>
                <a:cxn ang="0">
                  <a:pos x="connsiteX3" y="connsiteY3"/>
                </a:cxn>
              </a:cxnLst>
              <a:rect l="l" t="t" r="r" b="b"/>
              <a:pathLst>
                <a:path w="95250" h="66675">
                  <a:moveTo>
                    <a:pt x="91168" y="7348"/>
                  </a:moveTo>
                  <a:lnTo>
                    <a:pt x="7348" y="7348"/>
                  </a:lnTo>
                  <a:moveTo>
                    <a:pt x="91168" y="64498"/>
                  </a:moveTo>
                  <a:lnTo>
                    <a:pt x="7348" y="644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367"/>
              <a:endParaRPr lang="en-US" sz="882">
                <a:gradFill>
                  <a:gsLst>
                    <a:gs pos="0">
                      <a:srgbClr val="505050"/>
                    </a:gs>
                    <a:gs pos="100000">
                      <a:srgbClr val="505050"/>
                    </a:gs>
                  </a:gsLst>
                  <a:lin ang="5400000" scaled="1"/>
                </a:gradFill>
                <a:latin typeface="Segoe UI"/>
              </a:endParaRPr>
            </a:p>
          </p:txBody>
        </p:sp>
      </p:grpSp>
      <p:sp>
        <p:nvSpPr>
          <p:cNvPr id="9" name="Hexagon 8">
            <a:extLst>
              <a:ext uri="{FF2B5EF4-FFF2-40B4-BE49-F238E27FC236}">
                <a16:creationId xmlns:a16="http://schemas.microsoft.com/office/drawing/2014/main" id="{4444E344-DE87-4E26-B811-807EB602C40A}"/>
              </a:ext>
            </a:extLst>
          </p:cNvPr>
          <p:cNvSpPr/>
          <p:nvPr/>
        </p:nvSpPr>
        <p:spPr bwMode="auto">
          <a:xfrm>
            <a:off x="459123" y="4172449"/>
            <a:ext cx="1039853" cy="896425"/>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Graphic 22">
            <a:extLst>
              <a:ext uri="{FF2B5EF4-FFF2-40B4-BE49-F238E27FC236}">
                <a16:creationId xmlns:a16="http://schemas.microsoft.com/office/drawing/2014/main" id="{17D67146-CD07-46E5-85CD-43ADBA2251E1}"/>
              </a:ext>
            </a:extLst>
          </p:cNvPr>
          <p:cNvSpPr/>
          <p:nvPr/>
        </p:nvSpPr>
        <p:spPr>
          <a:xfrm>
            <a:off x="674865" y="4411835"/>
            <a:ext cx="608370" cy="417656"/>
          </a:xfrm>
          <a:custGeom>
            <a:avLst/>
            <a:gdLst>
              <a:gd name="connsiteX0" fmla="*/ 248943 w 748139"/>
              <a:gd name="connsiteY0" fmla="*/ 258115 h 513610"/>
              <a:gd name="connsiteX1" fmla="*/ 271217 w 748139"/>
              <a:gd name="connsiteY1" fmla="*/ 330178 h 513610"/>
              <a:gd name="connsiteX2" fmla="*/ 271217 w 748139"/>
              <a:gd name="connsiteY2" fmla="*/ 331488 h 513610"/>
              <a:gd name="connsiteX3" fmla="*/ 296111 w 748139"/>
              <a:gd name="connsiteY3" fmla="*/ 376036 h 513610"/>
              <a:gd name="connsiteX4" fmla="*/ 296111 w 748139"/>
              <a:gd name="connsiteY4" fmla="*/ 376036 h 513610"/>
              <a:gd name="connsiteX5" fmla="*/ 296111 w 748139"/>
              <a:gd name="connsiteY5" fmla="*/ 376036 h 513610"/>
              <a:gd name="connsiteX6" fmla="*/ 296111 w 748139"/>
              <a:gd name="connsiteY6" fmla="*/ 376036 h 513610"/>
              <a:gd name="connsiteX7" fmla="*/ 286940 w 748139"/>
              <a:gd name="connsiteY7" fmla="*/ 400930 h 513610"/>
              <a:gd name="connsiteX8" fmla="*/ 271217 w 748139"/>
              <a:gd name="connsiteY8" fmla="*/ 400930 h 513610"/>
              <a:gd name="connsiteX9" fmla="*/ 271217 w 748139"/>
              <a:gd name="connsiteY9" fmla="*/ 423204 h 513610"/>
              <a:gd name="connsiteX10" fmla="*/ 259425 w 748139"/>
              <a:gd name="connsiteY10" fmla="*/ 454650 h 513610"/>
              <a:gd name="connsiteX11" fmla="*/ 227980 w 748139"/>
              <a:gd name="connsiteY11" fmla="*/ 467752 h 513610"/>
              <a:gd name="connsiteX12" fmla="*/ 209636 w 748139"/>
              <a:gd name="connsiteY12" fmla="*/ 467752 h 513610"/>
              <a:gd name="connsiteX13" fmla="*/ 209636 w 748139"/>
              <a:gd name="connsiteY13" fmla="*/ 512300 h 513610"/>
              <a:gd name="connsiteX14" fmla="*/ 95647 w 748139"/>
              <a:gd name="connsiteY14" fmla="*/ 512300 h 513610"/>
              <a:gd name="connsiteX15" fmla="*/ 95647 w 748139"/>
              <a:gd name="connsiteY15" fmla="*/ 419274 h 513610"/>
              <a:gd name="connsiteX16" fmla="*/ 60270 w 748139"/>
              <a:gd name="connsiteY16" fmla="*/ 370795 h 513610"/>
              <a:gd name="connsiteX17" fmla="*/ 86475 w 748139"/>
              <a:gd name="connsiteY17" fmla="*/ 263356 h 513610"/>
              <a:gd name="connsiteX18" fmla="*/ 86475 w 748139"/>
              <a:gd name="connsiteY18" fmla="*/ 209637 h 513610"/>
              <a:gd name="connsiteX19" fmla="*/ 150676 w 748139"/>
              <a:gd name="connsiteY19" fmla="*/ 247633 h 513610"/>
              <a:gd name="connsiteX20" fmla="*/ 150676 w 748139"/>
              <a:gd name="connsiteY20" fmla="*/ 222739 h 513610"/>
              <a:gd name="connsiteX21" fmla="*/ 136264 w 748139"/>
              <a:gd name="connsiteY21" fmla="*/ 208327 h 513610"/>
              <a:gd name="connsiteX22" fmla="*/ 136264 w 748139"/>
              <a:gd name="connsiteY22" fmla="*/ 208327 h 513610"/>
              <a:gd name="connsiteX23" fmla="*/ 121851 w 748139"/>
              <a:gd name="connsiteY23" fmla="*/ 222739 h 513610"/>
              <a:gd name="connsiteX24" fmla="*/ 121851 w 748139"/>
              <a:gd name="connsiteY24" fmla="*/ 247633 h 513610"/>
              <a:gd name="connsiteX25" fmla="*/ 136264 w 748139"/>
              <a:gd name="connsiteY25" fmla="*/ 262046 h 513610"/>
              <a:gd name="connsiteX26" fmla="*/ 136264 w 748139"/>
              <a:gd name="connsiteY26" fmla="*/ 262046 h 513610"/>
              <a:gd name="connsiteX27" fmla="*/ 150676 w 748139"/>
              <a:gd name="connsiteY27" fmla="*/ 247633 h 513610"/>
              <a:gd name="connsiteX28" fmla="*/ 186052 w 748139"/>
              <a:gd name="connsiteY28" fmla="*/ 263356 h 513610"/>
              <a:gd name="connsiteX29" fmla="*/ 186052 w 748139"/>
              <a:gd name="connsiteY29" fmla="*/ 209637 h 513610"/>
              <a:gd name="connsiteX30" fmla="*/ 200465 w 748139"/>
              <a:gd name="connsiteY30" fmla="*/ 339350 h 513610"/>
              <a:gd name="connsiteX31" fmla="*/ 200465 w 748139"/>
              <a:gd name="connsiteY31" fmla="*/ 339350 h 513610"/>
              <a:gd name="connsiteX32" fmla="*/ 214877 w 748139"/>
              <a:gd name="connsiteY32" fmla="*/ 324937 h 513610"/>
              <a:gd name="connsiteX33" fmla="*/ 214877 w 748139"/>
              <a:gd name="connsiteY33" fmla="*/ 300043 h 513610"/>
              <a:gd name="connsiteX34" fmla="*/ 200465 w 748139"/>
              <a:gd name="connsiteY34" fmla="*/ 285630 h 513610"/>
              <a:gd name="connsiteX35" fmla="*/ 200465 w 748139"/>
              <a:gd name="connsiteY35" fmla="*/ 285630 h 513610"/>
              <a:gd name="connsiteX36" fmla="*/ 186052 w 748139"/>
              <a:gd name="connsiteY36" fmla="*/ 300043 h 513610"/>
              <a:gd name="connsiteX37" fmla="*/ 186052 w 748139"/>
              <a:gd name="connsiteY37" fmla="*/ 324937 h 513610"/>
              <a:gd name="connsiteX38" fmla="*/ 200465 w 748139"/>
              <a:gd name="connsiteY38" fmla="*/ 339350 h 513610"/>
              <a:gd name="connsiteX39" fmla="*/ 121851 w 748139"/>
              <a:gd name="connsiteY39" fmla="*/ 360313 h 513610"/>
              <a:gd name="connsiteX40" fmla="*/ 121851 w 748139"/>
              <a:gd name="connsiteY40" fmla="*/ 360313 h 513610"/>
              <a:gd name="connsiteX41" fmla="*/ 136264 w 748139"/>
              <a:gd name="connsiteY41" fmla="*/ 345901 h 513610"/>
              <a:gd name="connsiteX42" fmla="*/ 136264 w 748139"/>
              <a:gd name="connsiteY42" fmla="*/ 321006 h 513610"/>
              <a:gd name="connsiteX43" fmla="*/ 121851 w 748139"/>
              <a:gd name="connsiteY43" fmla="*/ 306594 h 513610"/>
              <a:gd name="connsiteX44" fmla="*/ 121851 w 748139"/>
              <a:gd name="connsiteY44" fmla="*/ 306594 h 513610"/>
              <a:gd name="connsiteX45" fmla="*/ 107439 w 748139"/>
              <a:gd name="connsiteY45" fmla="*/ 321006 h 513610"/>
              <a:gd name="connsiteX46" fmla="*/ 107439 w 748139"/>
              <a:gd name="connsiteY46" fmla="*/ 345901 h 513610"/>
              <a:gd name="connsiteX47" fmla="*/ 121851 w 748139"/>
              <a:gd name="connsiteY47" fmla="*/ 360313 h 513610"/>
              <a:gd name="connsiteX48" fmla="*/ 57650 w 748139"/>
              <a:gd name="connsiteY48" fmla="*/ 339350 h 513610"/>
              <a:gd name="connsiteX49" fmla="*/ 57650 w 748139"/>
              <a:gd name="connsiteY49" fmla="*/ 285630 h 513610"/>
              <a:gd name="connsiteX50" fmla="*/ 144125 w 748139"/>
              <a:gd name="connsiteY50" fmla="*/ 166399 h 513610"/>
              <a:gd name="connsiteX51" fmla="*/ 144125 w 748139"/>
              <a:gd name="connsiteY51" fmla="*/ 166399 h 513610"/>
              <a:gd name="connsiteX52" fmla="*/ 158538 w 748139"/>
              <a:gd name="connsiteY52" fmla="*/ 151987 h 513610"/>
              <a:gd name="connsiteX53" fmla="*/ 158538 w 748139"/>
              <a:gd name="connsiteY53" fmla="*/ 127092 h 513610"/>
              <a:gd name="connsiteX54" fmla="*/ 144125 w 748139"/>
              <a:gd name="connsiteY54" fmla="*/ 112680 h 513610"/>
              <a:gd name="connsiteX55" fmla="*/ 144125 w 748139"/>
              <a:gd name="connsiteY55" fmla="*/ 112680 h 513610"/>
              <a:gd name="connsiteX56" fmla="*/ 129713 w 748139"/>
              <a:gd name="connsiteY56" fmla="*/ 127092 h 513610"/>
              <a:gd name="connsiteX57" fmla="*/ 129713 w 748139"/>
              <a:gd name="connsiteY57" fmla="*/ 150676 h 513610"/>
              <a:gd name="connsiteX58" fmla="*/ 144125 w 748139"/>
              <a:gd name="connsiteY58" fmla="*/ 166399 h 513610"/>
              <a:gd name="connsiteX59" fmla="*/ 200465 w 748139"/>
              <a:gd name="connsiteY59" fmla="*/ 93026 h 513610"/>
              <a:gd name="connsiteX60" fmla="*/ 200465 w 748139"/>
              <a:gd name="connsiteY60" fmla="*/ 93026 h 513610"/>
              <a:gd name="connsiteX61" fmla="*/ 214877 w 748139"/>
              <a:gd name="connsiteY61" fmla="*/ 78614 h 513610"/>
              <a:gd name="connsiteX62" fmla="*/ 214877 w 748139"/>
              <a:gd name="connsiteY62" fmla="*/ 53719 h 513610"/>
              <a:gd name="connsiteX63" fmla="*/ 200465 w 748139"/>
              <a:gd name="connsiteY63" fmla="*/ 39307 h 513610"/>
              <a:gd name="connsiteX64" fmla="*/ 200465 w 748139"/>
              <a:gd name="connsiteY64" fmla="*/ 39307 h 513610"/>
              <a:gd name="connsiteX65" fmla="*/ 186052 w 748139"/>
              <a:gd name="connsiteY65" fmla="*/ 53719 h 513610"/>
              <a:gd name="connsiteX66" fmla="*/ 186052 w 748139"/>
              <a:gd name="connsiteY66" fmla="*/ 78614 h 513610"/>
              <a:gd name="connsiteX67" fmla="*/ 200465 w 748139"/>
              <a:gd name="connsiteY67" fmla="*/ 93026 h 513610"/>
              <a:gd name="connsiteX68" fmla="*/ 436306 w 748139"/>
              <a:gd name="connsiteY68" fmla="*/ 166399 h 513610"/>
              <a:gd name="connsiteX69" fmla="*/ 436306 w 748139"/>
              <a:gd name="connsiteY69" fmla="*/ 166399 h 513610"/>
              <a:gd name="connsiteX70" fmla="*/ 450718 w 748139"/>
              <a:gd name="connsiteY70" fmla="*/ 151987 h 513610"/>
              <a:gd name="connsiteX71" fmla="*/ 450718 w 748139"/>
              <a:gd name="connsiteY71" fmla="*/ 127092 h 513610"/>
              <a:gd name="connsiteX72" fmla="*/ 436306 w 748139"/>
              <a:gd name="connsiteY72" fmla="*/ 112680 h 513610"/>
              <a:gd name="connsiteX73" fmla="*/ 436306 w 748139"/>
              <a:gd name="connsiteY73" fmla="*/ 112680 h 513610"/>
              <a:gd name="connsiteX74" fmla="*/ 421893 w 748139"/>
              <a:gd name="connsiteY74" fmla="*/ 127092 h 513610"/>
              <a:gd name="connsiteX75" fmla="*/ 421893 w 748139"/>
              <a:gd name="connsiteY75" fmla="*/ 150676 h 513610"/>
              <a:gd name="connsiteX76" fmla="*/ 436306 w 748139"/>
              <a:gd name="connsiteY76" fmla="*/ 166399 h 513610"/>
              <a:gd name="connsiteX77" fmla="*/ 328867 w 748139"/>
              <a:gd name="connsiteY77" fmla="*/ 53719 h 513610"/>
              <a:gd name="connsiteX78" fmla="*/ 328867 w 748139"/>
              <a:gd name="connsiteY78" fmla="*/ 53719 h 513610"/>
              <a:gd name="connsiteX79" fmla="*/ 343280 w 748139"/>
              <a:gd name="connsiteY79" fmla="*/ 39307 h 513610"/>
              <a:gd name="connsiteX80" fmla="*/ 343280 w 748139"/>
              <a:gd name="connsiteY80" fmla="*/ 14413 h 513610"/>
              <a:gd name="connsiteX81" fmla="*/ 328867 w 748139"/>
              <a:gd name="connsiteY81" fmla="*/ 0 h 513610"/>
              <a:gd name="connsiteX82" fmla="*/ 328867 w 748139"/>
              <a:gd name="connsiteY82" fmla="*/ 0 h 513610"/>
              <a:gd name="connsiteX83" fmla="*/ 314455 w 748139"/>
              <a:gd name="connsiteY83" fmla="*/ 14413 h 513610"/>
              <a:gd name="connsiteX84" fmla="*/ 314455 w 748139"/>
              <a:gd name="connsiteY84" fmla="*/ 39307 h 513610"/>
              <a:gd name="connsiteX85" fmla="*/ 328867 w 748139"/>
              <a:gd name="connsiteY85" fmla="*/ 53719 h 513610"/>
              <a:gd name="connsiteX86" fmla="*/ 510989 w 748139"/>
              <a:gd name="connsiteY86" fmla="*/ 158538 h 513610"/>
              <a:gd name="connsiteX87" fmla="*/ 510989 w 748139"/>
              <a:gd name="connsiteY87" fmla="*/ 158538 h 513610"/>
              <a:gd name="connsiteX88" fmla="*/ 525401 w 748139"/>
              <a:gd name="connsiteY88" fmla="*/ 144125 h 513610"/>
              <a:gd name="connsiteX89" fmla="*/ 525401 w 748139"/>
              <a:gd name="connsiteY89" fmla="*/ 119231 h 513610"/>
              <a:gd name="connsiteX90" fmla="*/ 510989 w 748139"/>
              <a:gd name="connsiteY90" fmla="*/ 104818 h 513610"/>
              <a:gd name="connsiteX91" fmla="*/ 510989 w 748139"/>
              <a:gd name="connsiteY91" fmla="*/ 104818 h 513610"/>
              <a:gd name="connsiteX92" fmla="*/ 496576 w 748139"/>
              <a:gd name="connsiteY92" fmla="*/ 119231 h 513610"/>
              <a:gd name="connsiteX93" fmla="*/ 496576 w 748139"/>
              <a:gd name="connsiteY93" fmla="*/ 144125 h 513610"/>
              <a:gd name="connsiteX94" fmla="*/ 510989 w 748139"/>
              <a:gd name="connsiteY94" fmla="*/ 158538 h 513610"/>
              <a:gd name="connsiteX95" fmla="*/ 610566 w 748139"/>
              <a:gd name="connsiteY95" fmla="*/ 89096 h 513610"/>
              <a:gd name="connsiteX96" fmla="*/ 610566 w 748139"/>
              <a:gd name="connsiteY96" fmla="*/ 89096 h 513610"/>
              <a:gd name="connsiteX97" fmla="*/ 624979 w 748139"/>
              <a:gd name="connsiteY97" fmla="*/ 74683 h 513610"/>
              <a:gd name="connsiteX98" fmla="*/ 624979 w 748139"/>
              <a:gd name="connsiteY98" fmla="*/ 49789 h 513610"/>
              <a:gd name="connsiteX99" fmla="*/ 610566 w 748139"/>
              <a:gd name="connsiteY99" fmla="*/ 35376 h 513610"/>
              <a:gd name="connsiteX100" fmla="*/ 610566 w 748139"/>
              <a:gd name="connsiteY100" fmla="*/ 35376 h 513610"/>
              <a:gd name="connsiteX101" fmla="*/ 596154 w 748139"/>
              <a:gd name="connsiteY101" fmla="*/ 49789 h 513610"/>
              <a:gd name="connsiteX102" fmla="*/ 596154 w 748139"/>
              <a:gd name="connsiteY102" fmla="*/ 74683 h 513610"/>
              <a:gd name="connsiteX103" fmla="*/ 610566 w 748139"/>
              <a:gd name="connsiteY103" fmla="*/ 89096 h 513610"/>
              <a:gd name="connsiteX104" fmla="*/ 436306 w 748139"/>
              <a:gd name="connsiteY104" fmla="*/ 53719 h 513610"/>
              <a:gd name="connsiteX105" fmla="*/ 436306 w 748139"/>
              <a:gd name="connsiteY105" fmla="*/ 53719 h 513610"/>
              <a:gd name="connsiteX106" fmla="*/ 450718 w 748139"/>
              <a:gd name="connsiteY106" fmla="*/ 39307 h 513610"/>
              <a:gd name="connsiteX107" fmla="*/ 450718 w 748139"/>
              <a:gd name="connsiteY107" fmla="*/ 14413 h 513610"/>
              <a:gd name="connsiteX108" fmla="*/ 436306 w 748139"/>
              <a:gd name="connsiteY108" fmla="*/ 0 h 513610"/>
              <a:gd name="connsiteX109" fmla="*/ 436306 w 748139"/>
              <a:gd name="connsiteY109" fmla="*/ 0 h 513610"/>
              <a:gd name="connsiteX110" fmla="*/ 421893 w 748139"/>
              <a:gd name="connsiteY110" fmla="*/ 14413 h 513610"/>
              <a:gd name="connsiteX111" fmla="*/ 421893 w 748139"/>
              <a:gd name="connsiteY111" fmla="*/ 39307 h 513610"/>
              <a:gd name="connsiteX112" fmla="*/ 436306 w 748139"/>
              <a:gd name="connsiteY112" fmla="*/ 53719 h 513610"/>
              <a:gd name="connsiteX113" fmla="*/ 290871 w 748139"/>
              <a:gd name="connsiteY113" fmla="*/ 138884 h 513610"/>
              <a:gd name="connsiteX114" fmla="*/ 290871 w 748139"/>
              <a:gd name="connsiteY114" fmla="*/ 138884 h 513610"/>
              <a:gd name="connsiteX115" fmla="*/ 305283 w 748139"/>
              <a:gd name="connsiteY115" fmla="*/ 124472 h 513610"/>
              <a:gd name="connsiteX116" fmla="*/ 305283 w 748139"/>
              <a:gd name="connsiteY116" fmla="*/ 99577 h 513610"/>
              <a:gd name="connsiteX117" fmla="*/ 290871 w 748139"/>
              <a:gd name="connsiteY117" fmla="*/ 85165 h 513610"/>
              <a:gd name="connsiteX118" fmla="*/ 290871 w 748139"/>
              <a:gd name="connsiteY118" fmla="*/ 85165 h 513610"/>
              <a:gd name="connsiteX119" fmla="*/ 276458 w 748139"/>
              <a:gd name="connsiteY119" fmla="*/ 99577 h 513610"/>
              <a:gd name="connsiteX120" fmla="*/ 276458 w 748139"/>
              <a:gd name="connsiteY120" fmla="*/ 124472 h 513610"/>
              <a:gd name="connsiteX121" fmla="*/ 290871 w 748139"/>
              <a:gd name="connsiteY121" fmla="*/ 138884 h 513610"/>
              <a:gd name="connsiteX122" fmla="*/ 60270 w 748139"/>
              <a:gd name="connsiteY122" fmla="*/ 180812 h 513610"/>
              <a:gd name="connsiteX123" fmla="*/ 60270 w 748139"/>
              <a:gd name="connsiteY123" fmla="*/ 127092 h 513610"/>
              <a:gd name="connsiteX124" fmla="*/ 547675 w 748139"/>
              <a:gd name="connsiteY124" fmla="*/ 89096 h 513610"/>
              <a:gd name="connsiteX125" fmla="*/ 547675 w 748139"/>
              <a:gd name="connsiteY125" fmla="*/ 35376 h 513610"/>
              <a:gd name="connsiteX126" fmla="*/ 246323 w 748139"/>
              <a:gd name="connsiteY126" fmla="*/ 81234 h 513610"/>
              <a:gd name="connsiteX127" fmla="*/ 246323 w 748139"/>
              <a:gd name="connsiteY127" fmla="*/ 27515 h 513610"/>
              <a:gd name="connsiteX128" fmla="*/ 487405 w 748139"/>
              <a:gd name="connsiteY128" fmla="*/ 66822 h 513610"/>
              <a:gd name="connsiteX129" fmla="*/ 487405 w 748139"/>
              <a:gd name="connsiteY129" fmla="*/ 13102 h 513610"/>
              <a:gd name="connsiteX130" fmla="*/ 218808 w 748139"/>
              <a:gd name="connsiteY130" fmla="*/ 134954 h 513610"/>
              <a:gd name="connsiteX131" fmla="*/ 218808 w 748139"/>
              <a:gd name="connsiteY131" fmla="*/ 188673 h 513610"/>
              <a:gd name="connsiteX132" fmla="*/ 383897 w 748139"/>
              <a:gd name="connsiteY132" fmla="*/ 53719 h 513610"/>
              <a:gd name="connsiteX133" fmla="*/ 383897 w 748139"/>
              <a:gd name="connsiteY133" fmla="*/ 107439 h 513610"/>
              <a:gd name="connsiteX134" fmla="*/ 344590 w 748139"/>
              <a:gd name="connsiteY134" fmla="*/ 116610 h 513610"/>
              <a:gd name="connsiteX135" fmla="*/ 344590 w 748139"/>
              <a:gd name="connsiteY135" fmla="*/ 170330 h 513610"/>
              <a:gd name="connsiteX136" fmla="*/ 0 w 748139"/>
              <a:gd name="connsiteY136" fmla="*/ 336729 h 513610"/>
              <a:gd name="connsiteX137" fmla="*/ 0 w 748139"/>
              <a:gd name="connsiteY137" fmla="*/ 283010 h 513610"/>
              <a:gd name="connsiteX138" fmla="*/ 745520 w 748139"/>
              <a:gd name="connsiteY138" fmla="*/ 372105 h 513610"/>
              <a:gd name="connsiteX139" fmla="*/ 710143 w 748139"/>
              <a:gd name="connsiteY139" fmla="*/ 420584 h 513610"/>
              <a:gd name="connsiteX140" fmla="*/ 710143 w 748139"/>
              <a:gd name="connsiteY140" fmla="*/ 513610 h 513610"/>
              <a:gd name="connsiteX141" fmla="*/ 594843 w 748139"/>
              <a:gd name="connsiteY141" fmla="*/ 513610 h 513610"/>
              <a:gd name="connsiteX142" fmla="*/ 594843 w 748139"/>
              <a:gd name="connsiteY142" fmla="*/ 469062 h 513610"/>
              <a:gd name="connsiteX143" fmla="*/ 576500 w 748139"/>
              <a:gd name="connsiteY143" fmla="*/ 469062 h 513610"/>
              <a:gd name="connsiteX144" fmla="*/ 545055 w 748139"/>
              <a:gd name="connsiteY144" fmla="*/ 455960 h 513610"/>
              <a:gd name="connsiteX145" fmla="*/ 533263 w 748139"/>
              <a:gd name="connsiteY145" fmla="*/ 424515 h 513610"/>
              <a:gd name="connsiteX146" fmla="*/ 533263 w 748139"/>
              <a:gd name="connsiteY146" fmla="*/ 402241 h 513610"/>
              <a:gd name="connsiteX147" fmla="*/ 517540 w 748139"/>
              <a:gd name="connsiteY147" fmla="*/ 402241 h 513610"/>
              <a:gd name="connsiteX148" fmla="*/ 508368 w 748139"/>
              <a:gd name="connsiteY148" fmla="*/ 377346 h 513610"/>
              <a:gd name="connsiteX149" fmla="*/ 508368 w 748139"/>
              <a:gd name="connsiteY149" fmla="*/ 377346 h 513610"/>
              <a:gd name="connsiteX150" fmla="*/ 508368 w 748139"/>
              <a:gd name="connsiteY150" fmla="*/ 377346 h 513610"/>
              <a:gd name="connsiteX151" fmla="*/ 508368 w 748139"/>
              <a:gd name="connsiteY151" fmla="*/ 377346 h 513610"/>
              <a:gd name="connsiteX152" fmla="*/ 533263 w 748139"/>
              <a:gd name="connsiteY152" fmla="*/ 332798 h 513610"/>
              <a:gd name="connsiteX153" fmla="*/ 533263 w 748139"/>
              <a:gd name="connsiteY153" fmla="*/ 331488 h 513610"/>
              <a:gd name="connsiteX154" fmla="*/ 552916 w 748139"/>
              <a:gd name="connsiteY154" fmla="*/ 263356 h 513610"/>
              <a:gd name="connsiteX155" fmla="*/ 719315 w 748139"/>
              <a:gd name="connsiteY155" fmla="*/ 208327 h 513610"/>
              <a:gd name="connsiteX156" fmla="*/ 719315 w 748139"/>
              <a:gd name="connsiteY156" fmla="*/ 262046 h 513610"/>
              <a:gd name="connsiteX157" fmla="*/ 683939 w 748139"/>
              <a:gd name="connsiteY157" fmla="*/ 247633 h 513610"/>
              <a:gd name="connsiteX158" fmla="*/ 683939 w 748139"/>
              <a:gd name="connsiteY158" fmla="*/ 222739 h 513610"/>
              <a:gd name="connsiteX159" fmla="*/ 669526 w 748139"/>
              <a:gd name="connsiteY159" fmla="*/ 208327 h 513610"/>
              <a:gd name="connsiteX160" fmla="*/ 669526 w 748139"/>
              <a:gd name="connsiteY160" fmla="*/ 208327 h 513610"/>
              <a:gd name="connsiteX161" fmla="*/ 655114 w 748139"/>
              <a:gd name="connsiteY161" fmla="*/ 222739 h 513610"/>
              <a:gd name="connsiteX162" fmla="*/ 655114 w 748139"/>
              <a:gd name="connsiteY162" fmla="*/ 247633 h 513610"/>
              <a:gd name="connsiteX163" fmla="*/ 669526 w 748139"/>
              <a:gd name="connsiteY163" fmla="*/ 262046 h 513610"/>
              <a:gd name="connsiteX164" fmla="*/ 669526 w 748139"/>
              <a:gd name="connsiteY164" fmla="*/ 262046 h 513610"/>
              <a:gd name="connsiteX165" fmla="*/ 683939 w 748139"/>
              <a:gd name="connsiteY165" fmla="*/ 247633 h 513610"/>
              <a:gd name="connsiteX166" fmla="*/ 619738 w 748139"/>
              <a:gd name="connsiteY166" fmla="*/ 208327 h 513610"/>
              <a:gd name="connsiteX167" fmla="*/ 619738 w 748139"/>
              <a:gd name="connsiteY167" fmla="*/ 262046 h 513610"/>
              <a:gd name="connsiteX168" fmla="*/ 605325 w 748139"/>
              <a:gd name="connsiteY168" fmla="*/ 285630 h 513610"/>
              <a:gd name="connsiteX169" fmla="*/ 605325 w 748139"/>
              <a:gd name="connsiteY169" fmla="*/ 285630 h 513610"/>
              <a:gd name="connsiteX170" fmla="*/ 590913 w 748139"/>
              <a:gd name="connsiteY170" fmla="*/ 300043 h 513610"/>
              <a:gd name="connsiteX171" fmla="*/ 590913 w 748139"/>
              <a:gd name="connsiteY171" fmla="*/ 324937 h 513610"/>
              <a:gd name="connsiteX172" fmla="*/ 605325 w 748139"/>
              <a:gd name="connsiteY172" fmla="*/ 339350 h 513610"/>
              <a:gd name="connsiteX173" fmla="*/ 605325 w 748139"/>
              <a:gd name="connsiteY173" fmla="*/ 339350 h 513610"/>
              <a:gd name="connsiteX174" fmla="*/ 619738 w 748139"/>
              <a:gd name="connsiteY174" fmla="*/ 324937 h 513610"/>
              <a:gd name="connsiteX175" fmla="*/ 619738 w 748139"/>
              <a:gd name="connsiteY175" fmla="*/ 300043 h 513610"/>
              <a:gd name="connsiteX176" fmla="*/ 605325 w 748139"/>
              <a:gd name="connsiteY176" fmla="*/ 285630 h 513610"/>
              <a:gd name="connsiteX177" fmla="*/ 683939 w 748139"/>
              <a:gd name="connsiteY177" fmla="*/ 306594 h 513610"/>
              <a:gd name="connsiteX178" fmla="*/ 683939 w 748139"/>
              <a:gd name="connsiteY178" fmla="*/ 306594 h 513610"/>
              <a:gd name="connsiteX179" fmla="*/ 669526 w 748139"/>
              <a:gd name="connsiteY179" fmla="*/ 321006 h 513610"/>
              <a:gd name="connsiteX180" fmla="*/ 669526 w 748139"/>
              <a:gd name="connsiteY180" fmla="*/ 345901 h 513610"/>
              <a:gd name="connsiteX181" fmla="*/ 683939 w 748139"/>
              <a:gd name="connsiteY181" fmla="*/ 360313 h 513610"/>
              <a:gd name="connsiteX182" fmla="*/ 683939 w 748139"/>
              <a:gd name="connsiteY182" fmla="*/ 360313 h 513610"/>
              <a:gd name="connsiteX183" fmla="*/ 698351 w 748139"/>
              <a:gd name="connsiteY183" fmla="*/ 345901 h 513610"/>
              <a:gd name="connsiteX184" fmla="*/ 698351 w 748139"/>
              <a:gd name="connsiteY184" fmla="*/ 321006 h 513610"/>
              <a:gd name="connsiteX185" fmla="*/ 683939 w 748139"/>
              <a:gd name="connsiteY185" fmla="*/ 306594 h 513610"/>
              <a:gd name="connsiteX186" fmla="*/ 748140 w 748139"/>
              <a:gd name="connsiteY186" fmla="*/ 285630 h 513610"/>
              <a:gd name="connsiteX187" fmla="*/ 748140 w 748139"/>
              <a:gd name="connsiteY187" fmla="*/ 339350 h 513610"/>
              <a:gd name="connsiteX188" fmla="*/ 661665 w 748139"/>
              <a:gd name="connsiteY188" fmla="*/ 111370 h 513610"/>
              <a:gd name="connsiteX189" fmla="*/ 661665 w 748139"/>
              <a:gd name="connsiteY189" fmla="*/ 111370 h 513610"/>
              <a:gd name="connsiteX190" fmla="*/ 647252 w 748139"/>
              <a:gd name="connsiteY190" fmla="*/ 125782 h 513610"/>
              <a:gd name="connsiteX191" fmla="*/ 647252 w 748139"/>
              <a:gd name="connsiteY191" fmla="*/ 150676 h 513610"/>
              <a:gd name="connsiteX192" fmla="*/ 661665 w 748139"/>
              <a:gd name="connsiteY192" fmla="*/ 165089 h 513610"/>
              <a:gd name="connsiteX193" fmla="*/ 661665 w 748139"/>
              <a:gd name="connsiteY193" fmla="*/ 165089 h 513610"/>
              <a:gd name="connsiteX194" fmla="*/ 676077 w 748139"/>
              <a:gd name="connsiteY194" fmla="*/ 150676 h 513610"/>
              <a:gd name="connsiteX195" fmla="*/ 676077 w 748139"/>
              <a:gd name="connsiteY195" fmla="*/ 125782 h 513610"/>
              <a:gd name="connsiteX196" fmla="*/ 661665 w 748139"/>
              <a:gd name="connsiteY196" fmla="*/ 111370 h 513610"/>
              <a:gd name="connsiteX197" fmla="*/ 745520 w 748139"/>
              <a:gd name="connsiteY197" fmla="*/ 125782 h 513610"/>
              <a:gd name="connsiteX198" fmla="*/ 745520 w 748139"/>
              <a:gd name="connsiteY198" fmla="*/ 179502 h 513610"/>
              <a:gd name="connsiteX199" fmla="*/ 586982 w 748139"/>
              <a:gd name="connsiteY199" fmla="*/ 188673 h 513610"/>
              <a:gd name="connsiteX200" fmla="*/ 586982 w 748139"/>
              <a:gd name="connsiteY200" fmla="*/ 134954 h 51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748139" h="513610">
                <a:moveTo>
                  <a:pt x="248943" y="258115"/>
                </a:moveTo>
                <a:cubicBezTo>
                  <a:pt x="264666" y="277769"/>
                  <a:pt x="272527" y="303973"/>
                  <a:pt x="271217" y="330178"/>
                </a:cubicBezTo>
                <a:lnTo>
                  <a:pt x="271217" y="331488"/>
                </a:lnTo>
                <a:lnTo>
                  <a:pt x="296111" y="376036"/>
                </a:lnTo>
                <a:lnTo>
                  <a:pt x="296111" y="376036"/>
                </a:lnTo>
                <a:lnTo>
                  <a:pt x="296111" y="376036"/>
                </a:lnTo>
                <a:lnTo>
                  <a:pt x="296111" y="376036"/>
                </a:lnTo>
                <a:cubicBezTo>
                  <a:pt x="303973" y="389138"/>
                  <a:pt x="296111" y="400930"/>
                  <a:pt x="286940" y="400930"/>
                </a:cubicBezTo>
                <a:lnTo>
                  <a:pt x="271217" y="400930"/>
                </a:lnTo>
                <a:lnTo>
                  <a:pt x="271217" y="423204"/>
                </a:lnTo>
                <a:cubicBezTo>
                  <a:pt x="271217" y="434996"/>
                  <a:pt x="267286" y="445478"/>
                  <a:pt x="259425" y="454650"/>
                </a:cubicBezTo>
                <a:cubicBezTo>
                  <a:pt x="251564" y="462511"/>
                  <a:pt x="239772" y="467752"/>
                  <a:pt x="227980" y="467752"/>
                </a:cubicBezTo>
                <a:lnTo>
                  <a:pt x="209636" y="467752"/>
                </a:lnTo>
                <a:lnTo>
                  <a:pt x="209636" y="512300"/>
                </a:lnTo>
                <a:lnTo>
                  <a:pt x="95647" y="512300"/>
                </a:lnTo>
                <a:lnTo>
                  <a:pt x="95647" y="419274"/>
                </a:lnTo>
                <a:cubicBezTo>
                  <a:pt x="79924" y="407482"/>
                  <a:pt x="66822" y="390449"/>
                  <a:pt x="60270" y="370795"/>
                </a:cubicBezTo>
                <a:moveTo>
                  <a:pt x="86475" y="263356"/>
                </a:moveTo>
                <a:lnTo>
                  <a:pt x="86475" y="209637"/>
                </a:lnTo>
                <a:moveTo>
                  <a:pt x="150676" y="247633"/>
                </a:moveTo>
                <a:lnTo>
                  <a:pt x="150676" y="222739"/>
                </a:lnTo>
                <a:cubicBezTo>
                  <a:pt x="150676" y="214878"/>
                  <a:pt x="144125" y="208327"/>
                  <a:pt x="136264" y="208327"/>
                </a:cubicBezTo>
                <a:lnTo>
                  <a:pt x="136264" y="208327"/>
                </a:lnTo>
                <a:cubicBezTo>
                  <a:pt x="128402" y="208327"/>
                  <a:pt x="121851" y="214878"/>
                  <a:pt x="121851" y="222739"/>
                </a:cubicBezTo>
                <a:lnTo>
                  <a:pt x="121851" y="247633"/>
                </a:lnTo>
                <a:cubicBezTo>
                  <a:pt x="121851" y="255495"/>
                  <a:pt x="128402" y="262046"/>
                  <a:pt x="136264" y="262046"/>
                </a:cubicBezTo>
                <a:lnTo>
                  <a:pt x="136264" y="262046"/>
                </a:lnTo>
                <a:cubicBezTo>
                  <a:pt x="144125" y="263356"/>
                  <a:pt x="150676" y="256805"/>
                  <a:pt x="150676" y="247633"/>
                </a:cubicBezTo>
                <a:close/>
                <a:moveTo>
                  <a:pt x="186052" y="263356"/>
                </a:moveTo>
                <a:lnTo>
                  <a:pt x="186052" y="209637"/>
                </a:lnTo>
                <a:moveTo>
                  <a:pt x="200465" y="339350"/>
                </a:moveTo>
                <a:lnTo>
                  <a:pt x="200465" y="339350"/>
                </a:lnTo>
                <a:cubicBezTo>
                  <a:pt x="208326" y="339350"/>
                  <a:pt x="214877" y="332798"/>
                  <a:pt x="214877" y="324937"/>
                </a:cubicBezTo>
                <a:lnTo>
                  <a:pt x="214877" y="300043"/>
                </a:lnTo>
                <a:cubicBezTo>
                  <a:pt x="214877" y="292181"/>
                  <a:pt x="208326" y="285630"/>
                  <a:pt x="200465" y="285630"/>
                </a:cubicBezTo>
                <a:lnTo>
                  <a:pt x="200465" y="285630"/>
                </a:lnTo>
                <a:cubicBezTo>
                  <a:pt x="192603" y="285630"/>
                  <a:pt x="186052" y="292181"/>
                  <a:pt x="186052" y="300043"/>
                </a:cubicBezTo>
                <a:lnTo>
                  <a:pt x="186052" y="324937"/>
                </a:lnTo>
                <a:cubicBezTo>
                  <a:pt x="186052" y="332798"/>
                  <a:pt x="192603" y="339350"/>
                  <a:pt x="200465" y="339350"/>
                </a:cubicBezTo>
                <a:close/>
                <a:moveTo>
                  <a:pt x="121851" y="360313"/>
                </a:moveTo>
                <a:lnTo>
                  <a:pt x="121851" y="360313"/>
                </a:lnTo>
                <a:cubicBezTo>
                  <a:pt x="129713" y="360313"/>
                  <a:pt x="136264" y="353762"/>
                  <a:pt x="136264" y="345901"/>
                </a:cubicBezTo>
                <a:lnTo>
                  <a:pt x="136264" y="321006"/>
                </a:lnTo>
                <a:cubicBezTo>
                  <a:pt x="136264" y="313145"/>
                  <a:pt x="129713" y="306594"/>
                  <a:pt x="121851" y="306594"/>
                </a:cubicBezTo>
                <a:lnTo>
                  <a:pt x="121851" y="306594"/>
                </a:lnTo>
                <a:cubicBezTo>
                  <a:pt x="113990" y="306594"/>
                  <a:pt x="107439" y="313145"/>
                  <a:pt x="107439" y="321006"/>
                </a:cubicBezTo>
                <a:lnTo>
                  <a:pt x="107439" y="345901"/>
                </a:lnTo>
                <a:cubicBezTo>
                  <a:pt x="106128" y="353762"/>
                  <a:pt x="113990" y="360313"/>
                  <a:pt x="121851" y="360313"/>
                </a:cubicBezTo>
                <a:close/>
                <a:moveTo>
                  <a:pt x="57650" y="339350"/>
                </a:moveTo>
                <a:lnTo>
                  <a:pt x="57650" y="285630"/>
                </a:lnTo>
                <a:moveTo>
                  <a:pt x="144125" y="166399"/>
                </a:moveTo>
                <a:lnTo>
                  <a:pt x="144125" y="166399"/>
                </a:lnTo>
                <a:cubicBezTo>
                  <a:pt x="151986" y="166399"/>
                  <a:pt x="158538" y="159848"/>
                  <a:pt x="158538" y="151987"/>
                </a:cubicBezTo>
                <a:lnTo>
                  <a:pt x="158538" y="127092"/>
                </a:lnTo>
                <a:cubicBezTo>
                  <a:pt x="158538" y="119231"/>
                  <a:pt x="151986" y="112680"/>
                  <a:pt x="144125" y="112680"/>
                </a:cubicBezTo>
                <a:lnTo>
                  <a:pt x="144125" y="112680"/>
                </a:lnTo>
                <a:cubicBezTo>
                  <a:pt x="136264" y="112680"/>
                  <a:pt x="129713" y="119231"/>
                  <a:pt x="129713" y="127092"/>
                </a:cubicBezTo>
                <a:lnTo>
                  <a:pt x="129713" y="150676"/>
                </a:lnTo>
                <a:cubicBezTo>
                  <a:pt x="129713" y="158538"/>
                  <a:pt x="136264" y="166399"/>
                  <a:pt x="144125" y="166399"/>
                </a:cubicBezTo>
                <a:close/>
                <a:moveTo>
                  <a:pt x="200465" y="93026"/>
                </a:moveTo>
                <a:lnTo>
                  <a:pt x="200465" y="93026"/>
                </a:lnTo>
                <a:cubicBezTo>
                  <a:pt x="208326" y="93026"/>
                  <a:pt x="214877" y="86475"/>
                  <a:pt x="214877" y="78614"/>
                </a:cubicBezTo>
                <a:lnTo>
                  <a:pt x="214877" y="53719"/>
                </a:lnTo>
                <a:cubicBezTo>
                  <a:pt x="214877" y="45858"/>
                  <a:pt x="208326" y="39307"/>
                  <a:pt x="200465" y="39307"/>
                </a:cubicBezTo>
                <a:lnTo>
                  <a:pt x="200465" y="39307"/>
                </a:lnTo>
                <a:cubicBezTo>
                  <a:pt x="192603" y="39307"/>
                  <a:pt x="186052" y="45858"/>
                  <a:pt x="186052" y="53719"/>
                </a:cubicBezTo>
                <a:lnTo>
                  <a:pt x="186052" y="78614"/>
                </a:lnTo>
                <a:cubicBezTo>
                  <a:pt x="186052" y="86475"/>
                  <a:pt x="192603" y="93026"/>
                  <a:pt x="200465" y="93026"/>
                </a:cubicBezTo>
                <a:close/>
                <a:moveTo>
                  <a:pt x="436306" y="166399"/>
                </a:moveTo>
                <a:lnTo>
                  <a:pt x="436306" y="166399"/>
                </a:lnTo>
                <a:cubicBezTo>
                  <a:pt x="444167" y="166399"/>
                  <a:pt x="450718" y="159848"/>
                  <a:pt x="450718" y="151987"/>
                </a:cubicBezTo>
                <a:lnTo>
                  <a:pt x="450718" y="127092"/>
                </a:lnTo>
                <a:cubicBezTo>
                  <a:pt x="450718" y="119231"/>
                  <a:pt x="444167" y="112680"/>
                  <a:pt x="436306" y="112680"/>
                </a:cubicBezTo>
                <a:lnTo>
                  <a:pt x="436306" y="112680"/>
                </a:lnTo>
                <a:cubicBezTo>
                  <a:pt x="428444" y="112680"/>
                  <a:pt x="421893" y="119231"/>
                  <a:pt x="421893" y="127092"/>
                </a:cubicBezTo>
                <a:lnTo>
                  <a:pt x="421893" y="150676"/>
                </a:lnTo>
                <a:cubicBezTo>
                  <a:pt x="421893" y="158538"/>
                  <a:pt x="428444" y="166399"/>
                  <a:pt x="436306" y="166399"/>
                </a:cubicBezTo>
                <a:close/>
                <a:moveTo>
                  <a:pt x="328867" y="53719"/>
                </a:moveTo>
                <a:lnTo>
                  <a:pt x="328867" y="53719"/>
                </a:lnTo>
                <a:cubicBezTo>
                  <a:pt x="336729" y="53719"/>
                  <a:pt x="343280" y="47168"/>
                  <a:pt x="343280" y="39307"/>
                </a:cubicBezTo>
                <a:lnTo>
                  <a:pt x="343280" y="14413"/>
                </a:lnTo>
                <a:cubicBezTo>
                  <a:pt x="343280" y="6551"/>
                  <a:pt x="336729" y="0"/>
                  <a:pt x="328867" y="0"/>
                </a:cubicBezTo>
                <a:lnTo>
                  <a:pt x="328867" y="0"/>
                </a:lnTo>
                <a:cubicBezTo>
                  <a:pt x="321006" y="0"/>
                  <a:pt x="314455" y="6551"/>
                  <a:pt x="314455" y="14413"/>
                </a:cubicBezTo>
                <a:lnTo>
                  <a:pt x="314455" y="39307"/>
                </a:lnTo>
                <a:cubicBezTo>
                  <a:pt x="314455" y="47168"/>
                  <a:pt x="321006" y="53719"/>
                  <a:pt x="328867" y="53719"/>
                </a:cubicBezTo>
                <a:close/>
                <a:moveTo>
                  <a:pt x="510989" y="158538"/>
                </a:moveTo>
                <a:lnTo>
                  <a:pt x="510989" y="158538"/>
                </a:lnTo>
                <a:cubicBezTo>
                  <a:pt x="518850" y="158538"/>
                  <a:pt x="525401" y="151987"/>
                  <a:pt x="525401" y="144125"/>
                </a:cubicBezTo>
                <a:lnTo>
                  <a:pt x="525401" y="119231"/>
                </a:lnTo>
                <a:cubicBezTo>
                  <a:pt x="525401" y="111370"/>
                  <a:pt x="518850" y="104818"/>
                  <a:pt x="510989" y="104818"/>
                </a:cubicBezTo>
                <a:lnTo>
                  <a:pt x="510989" y="104818"/>
                </a:lnTo>
                <a:cubicBezTo>
                  <a:pt x="503127" y="104818"/>
                  <a:pt x="496576" y="111370"/>
                  <a:pt x="496576" y="119231"/>
                </a:cubicBezTo>
                <a:lnTo>
                  <a:pt x="496576" y="144125"/>
                </a:lnTo>
                <a:cubicBezTo>
                  <a:pt x="496576" y="150676"/>
                  <a:pt x="503127" y="158538"/>
                  <a:pt x="510989" y="158538"/>
                </a:cubicBezTo>
                <a:close/>
                <a:moveTo>
                  <a:pt x="610566" y="89096"/>
                </a:moveTo>
                <a:lnTo>
                  <a:pt x="610566" y="89096"/>
                </a:lnTo>
                <a:cubicBezTo>
                  <a:pt x="618427" y="89096"/>
                  <a:pt x="624979" y="82544"/>
                  <a:pt x="624979" y="74683"/>
                </a:cubicBezTo>
                <a:lnTo>
                  <a:pt x="624979" y="49789"/>
                </a:lnTo>
                <a:cubicBezTo>
                  <a:pt x="624979" y="41927"/>
                  <a:pt x="618427" y="35376"/>
                  <a:pt x="610566" y="35376"/>
                </a:cubicBezTo>
                <a:lnTo>
                  <a:pt x="610566" y="35376"/>
                </a:lnTo>
                <a:cubicBezTo>
                  <a:pt x="602705" y="35376"/>
                  <a:pt x="596154" y="41927"/>
                  <a:pt x="596154" y="49789"/>
                </a:cubicBezTo>
                <a:lnTo>
                  <a:pt x="596154" y="74683"/>
                </a:lnTo>
                <a:cubicBezTo>
                  <a:pt x="596154" y="82544"/>
                  <a:pt x="602705" y="89096"/>
                  <a:pt x="610566" y="89096"/>
                </a:cubicBezTo>
                <a:close/>
                <a:moveTo>
                  <a:pt x="436306" y="53719"/>
                </a:moveTo>
                <a:lnTo>
                  <a:pt x="436306" y="53719"/>
                </a:lnTo>
                <a:cubicBezTo>
                  <a:pt x="444167" y="53719"/>
                  <a:pt x="450718" y="47168"/>
                  <a:pt x="450718" y="39307"/>
                </a:cubicBezTo>
                <a:lnTo>
                  <a:pt x="450718" y="14413"/>
                </a:lnTo>
                <a:cubicBezTo>
                  <a:pt x="450718" y="6551"/>
                  <a:pt x="444167" y="0"/>
                  <a:pt x="436306" y="0"/>
                </a:cubicBezTo>
                <a:lnTo>
                  <a:pt x="436306" y="0"/>
                </a:lnTo>
                <a:cubicBezTo>
                  <a:pt x="428444" y="0"/>
                  <a:pt x="421893" y="6551"/>
                  <a:pt x="421893" y="14413"/>
                </a:cubicBezTo>
                <a:lnTo>
                  <a:pt x="421893" y="39307"/>
                </a:lnTo>
                <a:cubicBezTo>
                  <a:pt x="421893" y="47168"/>
                  <a:pt x="428444" y="53719"/>
                  <a:pt x="436306" y="53719"/>
                </a:cubicBezTo>
                <a:close/>
                <a:moveTo>
                  <a:pt x="290871" y="138884"/>
                </a:moveTo>
                <a:lnTo>
                  <a:pt x="290871" y="138884"/>
                </a:lnTo>
                <a:cubicBezTo>
                  <a:pt x="298732" y="138884"/>
                  <a:pt x="305283" y="132333"/>
                  <a:pt x="305283" y="124472"/>
                </a:cubicBezTo>
                <a:lnTo>
                  <a:pt x="305283" y="99577"/>
                </a:lnTo>
                <a:cubicBezTo>
                  <a:pt x="305283" y="91716"/>
                  <a:pt x="298732" y="85165"/>
                  <a:pt x="290871" y="85165"/>
                </a:cubicBezTo>
                <a:lnTo>
                  <a:pt x="290871" y="85165"/>
                </a:lnTo>
                <a:cubicBezTo>
                  <a:pt x="283009" y="85165"/>
                  <a:pt x="276458" y="91716"/>
                  <a:pt x="276458" y="99577"/>
                </a:cubicBezTo>
                <a:lnTo>
                  <a:pt x="276458" y="124472"/>
                </a:lnTo>
                <a:cubicBezTo>
                  <a:pt x="275148" y="132333"/>
                  <a:pt x="281699" y="138884"/>
                  <a:pt x="290871" y="138884"/>
                </a:cubicBezTo>
                <a:close/>
                <a:moveTo>
                  <a:pt x="60270" y="180812"/>
                </a:moveTo>
                <a:lnTo>
                  <a:pt x="60270" y="127092"/>
                </a:lnTo>
                <a:moveTo>
                  <a:pt x="547675" y="89096"/>
                </a:moveTo>
                <a:lnTo>
                  <a:pt x="547675" y="35376"/>
                </a:lnTo>
                <a:moveTo>
                  <a:pt x="246323" y="81234"/>
                </a:moveTo>
                <a:lnTo>
                  <a:pt x="246323" y="27515"/>
                </a:lnTo>
                <a:moveTo>
                  <a:pt x="487405" y="66822"/>
                </a:moveTo>
                <a:lnTo>
                  <a:pt x="487405" y="13102"/>
                </a:lnTo>
                <a:moveTo>
                  <a:pt x="218808" y="134954"/>
                </a:moveTo>
                <a:lnTo>
                  <a:pt x="218808" y="188673"/>
                </a:lnTo>
                <a:moveTo>
                  <a:pt x="383897" y="53719"/>
                </a:moveTo>
                <a:lnTo>
                  <a:pt x="383897" y="107439"/>
                </a:lnTo>
                <a:moveTo>
                  <a:pt x="344590" y="116610"/>
                </a:moveTo>
                <a:lnTo>
                  <a:pt x="344590" y="170330"/>
                </a:lnTo>
                <a:moveTo>
                  <a:pt x="0" y="336729"/>
                </a:moveTo>
                <a:lnTo>
                  <a:pt x="0" y="283010"/>
                </a:lnTo>
                <a:moveTo>
                  <a:pt x="745520" y="372105"/>
                </a:moveTo>
                <a:cubicBezTo>
                  <a:pt x="737658" y="391759"/>
                  <a:pt x="725866" y="407482"/>
                  <a:pt x="710143" y="420584"/>
                </a:cubicBezTo>
                <a:lnTo>
                  <a:pt x="710143" y="513610"/>
                </a:lnTo>
                <a:lnTo>
                  <a:pt x="594843" y="513610"/>
                </a:lnTo>
                <a:lnTo>
                  <a:pt x="594843" y="469062"/>
                </a:lnTo>
                <a:lnTo>
                  <a:pt x="576500" y="469062"/>
                </a:lnTo>
                <a:cubicBezTo>
                  <a:pt x="564708" y="469062"/>
                  <a:pt x="554226" y="463821"/>
                  <a:pt x="545055" y="455960"/>
                </a:cubicBezTo>
                <a:cubicBezTo>
                  <a:pt x="537193" y="448099"/>
                  <a:pt x="533263" y="436307"/>
                  <a:pt x="533263" y="424515"/>
                </a:cubicBezTo>
                <a:lnTo>
                  <a:pt x="533263" y="402241"/>
                </a:lnTo>
                <a:lnTo>
                  <a:pt x="517540" y="402241"/>
                </a:lnTo>
                <a:cubicBezTo>
                  <a:pt x="508368" y="400930"/>
                  <a:pt x="499197" y="390449"/>
                  <a:pt x="508368" y="377346"/>
                </a:cubicBezTo>
                <a:lnTo>
                  <a:pt x="508368" y="377346"/>
                </a:lnTo>
                <a:lnTo>
                  <a:pt x="508368" y="377346"/>
                </a:lnTo>
                <a:lnTo>
                  <a:pt x="508368" y="377346"/>
                </a:lnTo>
                <a:lnTo>
                  <a:pt x="533263" y="332798"/>
                </a:lnTo>
                <a:lnTo>
                  <a:pt x="533263" y="331488"/>
                </a:lnTo>
                <a:cubicBezTo>
                  <a:pt x="531952" y="306594"/>
                  <a:pt x="539814" y="283010"/>
                  <a:pt x="552916" y="263356"/>
                </a:cubicBezTo>
                <a:moveTo>
                  <a:pt x="719315" y="208327"/>
                </a:moveTo>
                <a:lnTo>
                  <a:pt x="719315" y="262046"/>
                </a:lnTo>
                <a:moveTo>
                  <a:pt x="683939" y="247633"/>
                </a:moveTo>
                <a:lnTo>
                  <a:pt x="683939" y="222739"/>
                </a:lnTo>
                <a:cubicBezTo>
                  <a:pt x="683939" y="214878"/>
                  <a:pt x="677388" y="208327"/>
                  <a:pt x="669526" y="208327"/>
                </a:cubicBezTo>
                <a:lnTo>
                  <a:pt x="669526" y="208327"/>
                </a:lnTo>
                <a:cubicBezTo>
                  <a:pt x="661665" y="208327"/>
                  <a:pt x="655114" y="214878"/>
                  <a:pt x="655114" y="222739"/>
                </a:cubicBezTo>
                <a:lnTo>
                  <a:pt x="655114" y="247633"/>
                </a:lnTo>
                <a:cubicBezTo>
                  <a:pt x="655114" y="255495"/>
                  <a:pt x="661665" y="262046"/>
                  <a:pt x="669526" y="262046"/>
                </a:cubicBezTo>
                <a:lnTo>
                  <a:pt x="669526" y="262046"/>
                </a:lnTo>
                <a:cubicBezTo>
                  <a:pt x="677388" y="263356"/>
                  <a:pt x="683939" y="256805"/>
                  <a:pt x="683939" y="247633"/>
                </a:cubicBezTo>
                <a:close/>
                <a:moveTo>
                  <a:pt x="619738" y="208327"/>
                </a:moveTo>
                <a:lnTo>
                  <a:pt x="619738" y="262046"/>
                </a:lnTo>
                <a:moveTo>
                  <a:pt x="605325" y="285630"/>
                </a:moveTo>
                <a:lnTo>
                  <a:pt x="605325" y="285630"/>
                </a:lnTo>
                <a:cubicBezTo>
                  <a:pt x="597464" y="285630"/>
                  <a:pt x="590913" y="292181"/>
                  <a:pt x="590913" y="300043"/>
                </a:cubicBezTo>
                <a:lnTo>
                  <a:pt x="590913" y="324937"/>
                </a:lnTo>
                <a:cubicBezTo>
                  <a:pt x="590913" y="332798"/>
                  <a:pt x="597464" y="339350"/>
                  <a:pt x="605325" y="339350"/>
                </a:cubicBezTo>
                <a:lnTo>
                  <a:pt x="605325" y="339350"/>
                </a:lnTo>
                <a:cubicBezTo>
                  <a:pt x="613187" y="339350"/>
                  <a:pt x="619738" y="332798"/>
                  <a:pt x="619738" y="324937"/>
                </a:cubicBezTo>
                <a:lnTo>
                  <a:pt x="619738" y="300043"/>
                </a:lnTo>
                <a:cubicBezTo>
                  <a:pt x="619738" y="292181"/>
                  <a:pt x="613187" y="285630"/>
                  <a:pt x="605325" y="285630"/>
                </a:cubicBezTo>
                <a:close/>
                <a:moveTo>
                  <a:pt x="683939" y="306594"/>
                </a:moveTo>
                <a:lnTo>
                  <a:pt x="683939" y="306594"/>
                </a:lnTo>
                <a:cubicBezTo>
                  <a:pt x="676077" y="306594"/>
                  <a:pt x="669526" y="313145"/>
                  <a:pt x="669526" y="321006"/>
                </a:cubicBezTo>
                <a:lnTo>
                  <a:pt x="669526" y="345901"/>
                </a:lnTo>
                <a:cubicBezTo>
                  <a:pt x="669526" y="353762"/>
                  <a:pt x="676077" y="360313"/>
                  <a:pt x="683939" y="360313"/>
                </a:cubicBezTo>
                <a:lnTo>
                  <a:pt x="683939" y="360313"/>
                </a:lnTo>
                <a:cubicBezTo>
                  <a:pt x="691800" y="360313"/>
                  <a:pt x="698351" y="353762"/>
                  <a:pt x="698351" y="345901"/>
                </a:cubicBezTo>
                <a:lnTo>
                  <a:pt x="698351" y="321006"/>
                </a:lnTo>
                <a:cubicBezTo>
                  <a:pt x="698351" y="313145"/>
                  <a:pt x="691800" y="306594"/>
                  <a:pt x="683939" y="306594"/>
                </a:cubicBezTo>
                <a:close/>
                <a:moveTo>
                  <a:pt x="748140" y="285630"/>
                </a:moveTo>
                <a:lnTo>
                  <a:pt x="748140" y="339350"/>
                </a:lnTo>
                <a:moveTo>
                  <a:pt x="661665" y="111370"/>
                </a:moveTo>
                <a:lnTo>
                  <a:pt x="661665" y="111370"/>
                </a:lnTo>
                <a:cubicBezTo>
                  <a:pt x="653804" y="111370"/>
                  <a:pt x="647252" y="117921"/>
                  <a:pt x="647252" y="125782"/>
                </a:cubicBezTo>
                <a:lnTo>
                  <a:pt x="647252" y="150676"/>
                </a:lnTo>
                <a:cubicBezTo>
                  <a:pt x="647252" y="158538"/>
                  <a:pt x="653804" y="165089"/>
                  <a:pt x="661665" y="165089"/>
                </a:cubicBezTo>
                <a:lnTo>
                  <a:pt x="661665" y="165089"/>
                </a:lnTo>
                <a:cubicBezTo>
                  <a:pt x="669526" y="165089"/>
                  <a:pt x="676077" y="158538"/>
                  <a:pt x="676077" y="150676"/>
                </a:cubicBezTo>
                <a:lnTo>
                  <a:pt x="676077" y="125782"/>
                </a:lnTo>
                <a:cubicBezTo>
                  <a:pt x="676077" y="117921"/>
                  <a:pt x="669526" y="111370"/>
                  <a:pt x="661665" y="111370"/>
                </a:cubicBezTo>
                <a:close/>
                <a:moveTo>
                  <a:pt x="745520" y="125782"/>
                </a:moveTo>
                <a:lnTo>
                  <a:pt x="745520" y="179502"/>
                </a:lnTo>
                <a:moveTo>
                  <a:pt x="586982" y="188673"/>
                </a:moveTo>
                <a:lnTo>
                  <a:pt x="586982" y="134954"/>
                </a:lnTo>
              </a:path>
            </a:pathLst>
          </a:custGeom>
          <a:noFill/>
          <a:ln w="15875" cap="flat">
            <a:solidFill>
              <a:schemeClr val="tx1"/>
            </a:solidFill>
            <a:prstDash val="solid"/>
            <a:miter/>
          </a:ln>
        </p:spPr>
        <p:txBody>
          <a:bodyPr rtlCol="0" anchor="ctr"/>
          <a:lstStyle/>
          <a:p>
            <a:pPr defTabSz="914367"/>
            <a:endParaRPr lang="en-IN" sz="1765">
              <a:solidFill>
                <a:srgbClr val="3C3C41"/>
              </a:solidFill>
              <a:latin typeface="Segoe UI"/>
            </a:endParaRPr>
          </a:p>
        </p:txBody>
      </p:sp>
      <p:cxnSp>
        <p:nvCxnSpPr>
          <p:cNvPr id="24" name="Straight Arrow Connector 23">
            <a:extLst>
              <a:ext uri="{FF2B5EF4-FFF2-40B4-BE49-F238E27FC236}">
                <a16:creationId xmlns:a16="http://schemas.microsoft.com/office/drawing/2014/main" id="{A1BA9FF0-62A0-40FF-9F11-EF3490C3E411}"/>
              </a:ext>
            </a:extLst>
          </p:cNvPr>
          <p:cNvCxnSpPr/>
          <p:nvPr/>
        </p:nvCxnSpPr>
        <p:spPr>
          <a:xfrm>
            <a:off x="1743732" y="2769186"/>
            <a:ext cx="4762820" cy="0"/>
          </a:xfrm>
          <a:prstGeom prst="straightConnector1">
            <a:avLst/>
          </a:prstGeom>
          <a:ln w="127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3ADB80C-3A45-4EDD-A501-1D55B8C30222}"/>
              </a:ext>
            </a:extLst>
          </p:cNvPr>
          <p:cNvCxnSpPr/>
          <p:nvPr/>
        </p:nvCxnSpPr>
        <p:spPr>
          <a:xfrm>
            <a:off x="1743732" y="3919030"/>
            <a:ext cx="4762820" cy="0"/>
          </a:xfrm>
          <a:prstGeom prst="straightConnector1">
            <a:avLst/>
          </a:prstGeom>
          <a:ln w="127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A8A586EC-9C34-49FC-8581-BB2BC9E725F0}"/>
              </a:ext>
            </a:extLst>
          </p:cNvPr>
          <p:cNvCxnSpPr/>
          <p:nvPr/>
        </p:nvCxnSpPr>
        <p:spPr>
          <a:xfrm>
            <a:off x="1743732" y="5068874"/>
            <a:ext cx="4762820" cy="0"/>
          </a:xfrm>
          <a:prstGeom prst="straightConnector1">
            <a:avLst/>
          </a:prstGeom>
          <a:ln w="127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ABAC3ECD-CA49-4007-8B99-15FA3EED21E8}"/>
              </a:ext>
            </a:extLst>
          </p:cNvPr>
          <p:cNvCxnSpPr/>
          <p:nvPr/>
        </p:nvCxnSpPr>
        <p:spPr>
          <a:xfrm>
            <a:off x="1743732" y="6218717"/>
            <a:ext cx="4762820" cy="0"/>
          </a:xfrm>
          <a:prstGeom prst="straightConnector1">
            <a:avLst/>
          </a:prstGeom>
          <a:ln w="127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E13E05E2-8093-4232-90A2-2A1CA00219E4}"/>
              </a:ext>
            </a:extLst>
          </p:cNvPr>
          <p:cNvSpPr txBox="1"/>
          <p:nvPr/>
        </p:nvSpPr>
        <p:spPr>
          <a:xfrm>
            <a:off x="1706382" y="2203246"/>
            <a:ext cx="4837520" cy="500866"/>
          </a:xfrm>
          <a:prstGeom prst="rect">
            <a:avLst/>
          </a:prstGeom>
          <a:noFill/>
        </p:spPr>
        <p:txBody>
          <a:bodyPr wrap="square" lIns="89642" tIns="44821" rIns="89642" bIns="44821" rtlCol="0" anchor="ctr">
            <a:noAutofit/>
          </a:bodyPr>
          <a:lstStyle/>
          <a:p>
            <a:pPr algn="ctr" defTabSz="914367"/>
            <a:r>
              <a:rPr lang="en-US" sz="1568">
                <a:solidFill>
                  <a:srgbClr val="3C3C41"/>
                </a:solidFill>
                <a:latin typeface="Segoe UI"/>
              </a:rPr>
              <a:t>Shadow IT becomes Citizen IT</a:t>
            </a:r>
          </a:p>
        </p:txBody>
      </p:sp>
      <p:sp>
        <p:nvSpPr>
          <p:cNvPr id="52" name="TextBox 51">
            <a:extLst>
              <a:ext uri="{FF2B5EF4-FFF2-40B4-BE49-F238E27FC236}">
                <a16:creationId xmlns:a16="http://schemas.microsoft.com/office/drawing/2014/main" id="{B6472DB8-4577-417D-ACDD-A0071719B79D}"/>
              </a:ext>
            </a:extLst>
          </p:cNvPr>
          <p:cNvSpPr txBox="1"/>
          <p:nvPr/>
        </p:nvSpPr>
        <p:spPr>
          <a:xfrm>
            <a:off x="1706382" y="3357107"/>
            <a:ext cx="4837520" cy="500866"/>
          </a:xfrm>
          <a:prstGeom prst="rect">
            <a:avLst/>
          </a:prstGeom>
          <a:noFill/>
        </p:spPr>
        <p:txBody>
          <a:bodyPr wrap="square" lIns="89642" tIns="44821" rIns="89642" bIns="44821" rtlCol="0" anchor="ctr">
            <a:noAutofit/>
          </a:bodyPr>
          <a:lstStyle/>
          <a:p>
            <a:pPr algn="ctr" defTabSz="914367"/>
            <a:r>
              <a:rPr lang="en-US" sz="1568">
                <a:solidFill>
                  <a:srgbClr val="3C3C41"/>
                </a:solidFill>
                <a:latin typeface="Segoe UI"/>
              </a:rPr>
              <a:t>Securing your perimeter means securing your people</a:t>
            </a:r>
          </a:p>
        </p:txBody>
      </p:sp>
      <p:sp>
        <p:nvSpPr>
          <p:cNvPr id="53" name="TextBox 52">
            <a:extLst>
              <a:ext uri="{FF2B5EF4-FFF2-40B4-BE49-F238E27FC236}">
                <a16:creationId xmlns:a16="http://schemas.microsoft.com/office/drawing/2014/main" id="{D2514E7E-0CFD-4FBB-B41C-E49F4166681B}"/>
              </a:ext>
            </a:extLst>
          </p:cNvPr>
          <p:cNvSpPr txBox="1"/>
          <p:nvPr/>
        </p:nvSpPr>
        <p:spPr>
          <a:xfrm>
            <a:off x="1706382" y="4514500"/>
            <a:ext cx="4837520" cy="500866"/>
          </a:xfrm>
          <a:prstGeom prst="rect">
            <a:avLst/>
          </a:prstGeom>
          <a:noFill/>
        </p:spPr>
        <p:txBody>
          <a:bodyPr wrap="square" lIns="89642" tIns="44821" rIns="89642" bIns="44821" rtlCol="0" anchor="ctr">
            <a:noAutofit/>
          </a:bodyPr>
          <a:lstStyle/>
          <a:p>
            <a:pPr algn="ctr" defTabSz="914367"/>
            <a:r>
              <a:rPr lang="en-US" sz="1568">
                <a:solidFill>
                  <a:srgbClr val="3C3C41"/>
                </a:solidFill>
                <a:latin typeface="Segoe UI"/>
              </a:rPr>
              <a:t>More Data Sharing Requires Stronger DLP</a:t>
            </a:r>
          </a:p>
        </p:txBody>
      </p:sp>
      <p:sp>
        <p:nvSpPr>
          <p:cNvPr id="54" name="TextBox 53">
            <a:extLst>
              <a:ext uri="{FF2B5EF4-FFF2-40B4-BE49-F238E27FC236}">
                <a16:creationId xmlns:a16="http://schemas.microsoft.com/office/drawing/2014/main" id="{E765CEE9-99A0-4423-93AF-6EA2EE229F9A}"/>
              </a:ext>
            </a:extLst>
          </p:cNvPr>
          <p:cNvSpPr txBox="1"/>
          <p:nvPr/>
        </p:nvSpPr>
        <p:spPr>
          <a:xfrm>
            <a:off x="1706382" y="5654607"/>
            <a:ext cx="4837520" cy="500866"/>
          </a:xfrm>
          <a:prstGeom prst="rect">
            <a:avLst/>
          </a:prstGeom>
          <a:noFill/>
        </p:spPr>
        <p:txBody>
          <a:bodyPr wrap="square" lIns="89642" tIns="44821" rIns="89642" bIns="44821" rtlCol="0" anchor="ctr">
            <a:noAutofit/>
          </a:bodyPr>
          <a:lstStyle/>
          <a:p>
            <a:pPr algn="ctr" defTabSz="914367"/>
            <a:r>
              <a:rPr lang="en-US" sz="1568">
                <a:solidFill>
                  <a:srgbClr val="3C3C41"/>
                </a:solidFill>
                <a:latin typeface="Segoe UI"/>
              </a:rPr>
              <a:t>Better Visibility and custom configurations</a:t>
            </a:r>
          </a:p>
        </p:txBody>
      </p:sp>
      <p:sp>
        <p:nvSpPr>
          <p:cNvPr id="10" name="Hexagon 9">
            <a:extLst>
              <a:ext uri="{FF2B5EF4-FFF2-40B4-BE49-F238E27FC236}">
                <a16:creationId xmlns:a16="http://schemas.microsoft.com/office/drawing/2014/main" id="{7146E279-BD6B-4CCF-A5EF-540EB136A281}"/>
              </a:ext>
            </a:extLst>
          </p:cNvPr>
          <p:cNvSpPr/>
          <p:nvPr/>
        </p:nvSpPr>
        <p:spPr bwMode="auto">
          <a:xfrm>
            <a:off x="459123" y="5322292"/>
            <a:ext cx="1039853" cy="896425"/>
          </a:xfrm>
          <a:prstGeom prst="hexag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Eye" title="Icon of an eyeball">
            <a:extLst>
              <a:ext uri="{FF2B5EF4-FFF2-40B4-BE49-F238E27FC236}">
                <a16:creationId xmlns:a16="http://schemas.microsoft.com/office/drawing/2014/main" id="{08A9DD88-A698-49D5-963E-C8ADC4F26416}"/>
              </a:ext>
            </a:extLst>
          </p:cNvPr>
          <p:cNvSpPr>
            <a:spLocks noChangeAspect="1" noEditPoints="1"/>
          </p:cNvSpPr>
          <p:nvPr/>
        </p:nvSpPr>
        <p:spPr bwMode="auto">
          <a:xfrm>
            <a:off x="692437" y="5612261"/>
            <a:ext cx="573226" cy="316488"/>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131830272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Freeform: Shape 117">
            <a:extLst>
              <a:ext uri="{FF2B5EF4-FFF2-40B4-BE49-F238E27FC236}">
                <a16:creationId xmlns:a16="http://schemas.microsoft.com/office/drawing/2014/main" id="{EA9D92D1-FAC6-42B9-B85F-8B47157D0766}"/>
              </a:ext>
            </a:extLst>
          </p:cNvPr>
          <p:cNvSpPr/>
          <p:nvPr/>
        </p:nvSpPr>
        <p:spPr bwMode="auto">
          <a:xfrm flipH="1" flipV="1">
            <a:off x="2" y="486"/>
            <a:ext cx="3535015" cy="3814661"/>
          </a:xfrm>
          <a:custGeom>
            <a:avLst/>
            <a:gdLst>
              <a:gd name="connsiteX0" fmla="*/ 3605899 w 3605899"/>
              <a:gd name="connsiteY0" fmla="*/ 3891153 h 3891153"/>
              <a:gd name="connsiteX1" fmla="*/ 822371 w 3605899"/>
              <a:gd name="connsiteY1" fmla="*/ 3891153 h 3891153"/>
              <a:gd name="connsiteX2" fmla="*/ 0 w 3605899"/>
              <a:gd name="connsiteY2" fmla="*/ 2246411 h 3891153"/>
              <a:gd name="connsiteX3" fmla="*/ 1123206 w 3605899"/>
              <a:gd name="connsiteY3" fmla="*/ 0 h 3891153"/>
              <a:gd name="connsiteX4" fmla="*/ 3605899 w 3605899"/>
              <a:gd name="connsiteY4" fmla="*/ 0 h 3891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5899" h="3891153">
                <a:moveTo>
                  <a:pt x="3605899" y="3891153"/>
                </a:moveTo>
                <a:lnTo>
                  <a:pt x="822371" y="3891153"/>
                </a:lnTo>
                <a:lnTo>
                  <a:pt x="0" y="2246411"/>
                </a:lnTo>
                <a:lnTo>
                  <a:pt x="1123206" y="0"/>
                </a:lnTo>
                <a:lnTo>
                  <a:pt x="3605899" y="0"/>
                </a:lnTo>
                <a:close/>
              </a:path>
            </a:pathLst>
          </a:custGeom>
          <a:solidFill>
            <a:schemeClr val="tx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3B7D8E3E-776E-4C5A-9D39-E3299B537D76}"/>
              </a:ext>
            </a:extLst>
          </p:cNvPr>
          <p:cNvSpPr/>
          <p:nvPr/>
        </p:nvSpPr>
        <p:spPr bwMode="auto">
          <a:xfrm flipV="1">
            <a:off x="2878901" y="-638195"/>
            <a:ext cx="1477433" cy="1273649"/>
          </a:xfrm>
          <a:prstGeom prst="hexagon">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cs typeface="Segoe UI" pitchFamily="34" charset="0"/>
            </a:endParaRPr>
          </a:p>
        </p:txBody>
      </p:sp>
      <p:sp>
        <p:nvSpPr>
          <p:cNvPr id="55" name="Title 1">
            <a:extLst>
              <a:ext uri="{FF2B5EF4-FFF2-40B4-BE49-F238E27FC236}">
                <a16:creationId xmlns:a16="http://schemas.microsoft.com/office/drawing/2014/main" id="{8047DCE2-5104-4023-AB26-478725DAD3DA}"/>
              </a:ext>
            </a:extLst>
          </p:cNvPr>
          <p:cNvSpPr txBox="1">
            <a:spLocks/>
          </p:cNvSpPr>
          <p:nvPr/>
        </p:nvSpPr>
        <p:spPr>
          <a:xfrm>
            <a:off x="4343478" y="628578"/>
            <a:ext cx="6744389" cy="403079"/>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chemeClr val="tx1"/>
                </a:solidFill>
                <a:effectLst/>
                <a:latin typeface="+mj-lt"/>
                <a:ea typeface="+mn-ea"/>
                <a:cs typeface="Segoe UI" pitchFamily="34" charset="0"/>
              </a:defRPr>
            </a:lvl1pPr>
          </a:lstStyle>
          <a:p>
            <a:pPr defTabSz="914367">
              <a:lnSpc>
                <a:spcPts val="3137"/>
              </a:lnSpc>
            </a:pPr>
            <a:r>
              <a:rPr lang="en-US" sz="2745" spc="-49">
                <a:solidFill>
                  <a:srgbClr val="3C3C41"/>
                </a:solidFill>
                <a:latin typeface="Segoe UI Semibold"/>
              </a:rPr>
              <a:t>More Developers Require More Governance </a:t>
            </a:r>
          </a:p>
        </p:txBody>
      </p:sp>
      <p:sp>
        <p:nvSpPr>
          <p:cNvPr id="56" name="TextBox 55">
            <a:extLst>
              <a:ext uri="{FF2B5EF4-FFF2-40B4-BE49-F238E27FC236}">
                <a16:creationId xmlns:a16="http://schemas.microsoft.com/office/drawing/2014/main" id="{190974F6-8883-4994-BEE4-26D474814F00}"/>
              </a:ext>
            </a:extLst>
          </p:cNvPr>
          <p:cNvSpPr txBox="1"/>
          <p:nvPr/>
        </p:nvSpPr>
        <p:spPr>
          <a:xfrm>
            <a:off x="4343478" y="1156883"/>
            <a:ext cx="6744389" cy="301727"/>
          </a:xfrm>
          <a:prstGeom prst="rect">
            <a:avLst/>
          </a:prstGeom>
          <a:noFill/>
        </p:spPr>
        <p:txBody>
          <a:bodyPr wrap="square" lIns="0" tIns="0" rIns="0" bIns="0" rtlCol="0">
            <a:spAutoFit/>
          </a:bodyPr>
          <a:lstStyle/>
          <a:p>
            <a:pPr defTabSz="896386">
              <a:spcAft>
                <a:spcPts val="588"/>
              </a:spcAft>
              <a:defRPr/>
            </a:pPr>
            <a:r>
              <a:rPr lang="en-US" sz="1961">
                <a:solidFill>
                  <a:srgbClr val="3C3C41"/>
                </a:solidFill>
                <a:latin typeface="Segoe UI"/>
              </a:rPr>
              <a:t>Do any of these challenges sound familiar to you? </a:t>
            </a:r>
          </a:p>
        </p:txBody>
      </p:sp>
      <p:sp>
        <p:nvSpPr>
          <p:cNvPr id="61" name="Hexagon 60">
            <a:extLst>
              <a:ext uri="{FF2B5EF4-FFF2-40B4-BE49-F238E27FC236}">
                <a16:creationId xmlns:a16="http://schemas.microsoft.com/office/drawing/2014/main" id="{508A69FB-A475-4CE8-9645-25E8F4FBA891}"/>
              </a:ext>
            </a:extLst>
          </p:cNvPr>
          <p:cNvSpPr/>
          <p:nvPr/>
        </p:nvSpPr>
        <p:spPr bwMode="auto">
          <a:xfrm flipV="1">
            <a:off x="-837520" y="3481604"/>
            <a:ext cx="3383182" cy="2916534"/>
          </a:xfrm>
          <a:prstGeom prst="hexagon">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cs typeface="Segoe UI" pitchFamily="34" charset="0"/>
            </a:endParaRPr>
          </a:p>
        </p:txBody>
      </p:sp>
      <p:sp>
        <p:nvSpPr>
          <p:cNvPr id="63" name="TextBox 62">
            <a:extLst>
              <a:ext uri="{FF2B5EF4-FFF2-40B4-BE49-F238E27FC236}">
                <a16:creationId xmlns:a16="http://schemas.microsoft.com/office/drawing/2014/main" id="{06E7B4F4-E39A-4784-B055-8CD7357A3D72}"/>
              </a:ext>
            </a:extLst>
          </p:cNvPr>
          <p:cNvSpPr txBox="1"/>
          <p:nvPr/>
        </p:nvSpPr>
        <p:spPr>
          <a:xfrm>
            <a:off x="4343479" y="3250098"/>
            <a:ext cx="2917563" cy="861827"/>
          </a:xfrm>
          <a:prstGeom prst="rect">
            <a:avLst/>
          </a:prstGeom>
          <a:noFill/>
        </p:spPr>
        <p:txBody>
          <a:bodyPr wrap="square" lIns="0" tIns="0" rIns="0" bIns="0" rtlCol="0" anchor="ctr">
            <a:noAutofit/>
          </a:bodyPr>
          <a:lstStyle/>
          <a:p>
            <a:pPr defTabSz="896354">
              <a:spcAft>
                <a:spcPts val="576"/>
              </a:spcAft>
              <a:defRPr/>
            </a:pPr>
            <a:r>
              <a:rPr lang="en-US" sz="1765">
                <a:solidFill>
                  <a:srgbClr val="000000"/>
                </a:solidFill>
                <a:latin typeface="Segoe UI"/>
              </a:rPr>
              <a:t>Environment health regarding trial setup</a:t>
            </a:r>
          </a:p>
        </p:txBody>
      </p:sp>
      <p:sp>
        <p:nvSpPr>
          <p:cNvPr id="64" name="TextBox 63">
            <a:extLst>
              <a:ext uri="{FF2B5EF4-FFF2-40B4-BE49-F238E27FC236}">
                <a16:creationId xmlns:a16="http://schemas.microsoft.com/office/drawing/2014/main" id="{BE5F15F1-7FAE-4144-9067-39DB02AD72CC}"/>
              </a:ext>
            </a:extLst>
          </p:cNvPr>
          <p:cNvSpPr txBox="1"/>
          <p:nvPr/>
        </p:nvSpPr>
        <p:spPr>
          <a:xfrm>
            <a:off x="4343478" y="4374839"/>
            <a:ext cx="2917563" cy="861827"/>
          </a:xfrm>
          <a:prstGeom prst="rect">
            <a:avLst/>
          </a:prstGeom>
          <a:noFill/>
        </p:spPr>
        <p:txBody>
          <a:bodyPr wrap="square" lIns="0" tIns="0" rIns="0" bIns="0" rtlCol="0" anchor="ctr">
            <a:noAutofit/>
          </a:bodyPr>
          <a:lstStyle/>
          <a:p>
            <a:pPr defTabSz="896354">
              <a:spcAft>
                <a:spcPts val="576"/>
              </a:spcAft>
              <a:defRPr/>
            </a:pPr>
            <a:r>
              <a:rPr lang="en-US" sz="1765">
                <a:solidFill>
                  <a:srgbClr val="000000"/>
                </a:solidFill>
                <a:latin typeface="Segoe UI"/>
              </a:rPr>
              <a:t>Maintenance challenges regarding app and flow distribution</a:t>
            </a:r>
          </a:p>
        </p:txBody>
      </p:sp>
      <p:sp>
        <p:nvSpPr>
          <p:cNvPr id="65" name="TextBox 64">
            <a:extLst>
              <a:ext uri="{FF2B5EF4-FFF2-40B4-BE49-F238E27FC236}">
                <a16:creationId xmlns:a16="http://schemas.microsoft.com/office/drawing/2014/main" id="{BB4FD1C9-4691-49BB-9FAB-F5D5CD9D4054}"/>
              </a:ext>
            </a:extLst>
          </p:cNvPr>
          <p:cNvSpPr txBox="1"/>
          <p:nvPr/>
        </p:nvSpPr>
        <p:spPr>
          <a:xfrm>
            <a:off x="4343478" y="2125359"/>
            <a:ext cx="2917563" cy="861827"/>
          </a:xfrm>
          <a:prstGeom prst="rect">
            <a:avLst/>
          </a:prstGeom>
          <a:noFill/>
        </p:spPr>
        <p:txBody>
          <a:bodyPr wrap="square" lIns="0" tIns="0" rIns="0" bIns="0" rtlCol="0" anchor="ctr">
            <a:noAutofit/>
          </a:bodyPr>
          <a:lstStyle/>
          <a:p>
            <a:pPr defTabSz="896354">
              <a:spcAft>
                <a:spcPts val="576"/>
              </a:spcAft>
              <a:defRPr/>
            </a:pPr>
            <a:r>
              <a:rPr lang="en-US" sz="1765">
                <a:solidFill>
                  <a:srgbClr val="000000"/>
                </a:solidFill>
                <a:latin typeface="Segoe UI"/>
              </a:rPr>
              <a:t>Business data security </a:t>
            </a:r>
            <a:br>
              <a:rPr lang="en-US" sz="1765">
                <a:solidFill>
                  <a:srgbClr val="000000"/>
                </a:solidFill>
                <a:latin typeface="Segoe UI"/>
              </a:rPr>
            </a:br>
            <a:r>
              <a:rPr lang="en-US" sz="1765">
                <a:solidFill>
                  <a:srgbClr val="000000"/>
                </a:solidFill>
                <a:latin typeface="Segoe UI"/>
              </a:rPr>
              <a:t>concerns regarding connectors</a:t>
            </a:r>
          </a:p>
        </p:txBody>
      </p:sp>
      <p:cxnSp>
        <p:nvCxnSpPr>
          <p:cNvPr id="66" name="Straight Connector 65">
            <a:extLst>
              <a:ext uri="{FF2B5EF4-FFF2-40B4-BE49-F238E27FC236}">
                <a16:creationId xmlns:a16="http://schemas.microsoft.com/office/drawing/2014/main" id="{229450A9-3D01-4BCA-BA69-53BFBFB16F63}"/>
              </a:ext>
            </a:extLst>
          </p:cNvPr>
          <p:cNvCxnSpPr/>
          <p:nvPr/>
        </p:nvCxnSpPr>
        <p:spPr>
          <a:xfrm>
            <a:off x="4343479" y="3118642"/>
            <a:ext cx="2917564"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7" name="Straight Connector 66">
            <a:extLst>
              <a:ext uri="{FF2B5EF4-FFF2-40B4-BE49-F238E27FC236}">
                <a16:creationId xmlns:a16="http://schemas.microsoft.com/office/drawing/2014/main" id="{CFE395C2-CEAB-451A-93AE-1A38BC0977C6}"/>
              </a:ext>
            </a:extLst>
          </p:cNvPr>
          <p:cNvCxnSpPr/>
          <p:nvPr/>
        </p:nvCxnSpPr>
        <p:spPr>
          <a:xfrm>
            <a:off x="4343479" y="4243382"/>
            <a:ext cx="2917564"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8" name="TextBox 67">
            <a:extLst>
              <a:ext uri="{FF2B5EF4-FFF2-40B4-BE49-F238E27FC236}">
                <a16:creationId xmlns:a16="http://schemas.microsoft.com/office/drawing/2014/main" id="{BD917C82-4AA9-4EC9-8581-E87832B8863B}"/>
              </a:ext>
            </a:extLst>
          </p:cNvPr>
          <p:cNvSpPr txBox="1"/>
          <p:nvPr/>
        </p:nvSpPr>
        <p:spPr>
          <a:xfrm>
            <a:off x="4343478" y="5499577"/>
            <a:ext cx="2917563" cy="861827"/>
          </a:xfrm>
          <a:prstGeom prst="rect">
            <a:avLst/>
          </a:prstGeom>
          <a:noFill/>
        </p:spPr>
        <p:txBody>
          <a:bodyPr wrap="square" lIns="0" tIns="0" rIns="0" bIns="0" rtlCol="0" anchor="ctr">
            <a:noAutofit/>
          </a:bodyPr>
          <a:lstStyle/>
          <a:p>
            <a:pPr defTabSz="896354">
              <a:spcAft>
                <a:spcPts val="576"/>
              </a:spcAft>
              <a:defRPr/>
            </a:pPr>
            <a:r>
              <a:rPr lang="en-US" sz="1765">
                <a:solidFill>
                  <a:srgbClr val="000000"/>
                </a:solidFill>
                <a:latin typeface="Segoe UI"/>
              </a:rPr>
              <a:t>Security risks regarding “shadow IT”</a:t>
            </a:r>
          </a:p>
        </p:txBody>
      </p:sp>
      <p:cxnSp>
        <p:nvCxnSpPr>
          <p:cNvPr id="69" name="Straight Connector 68">
            <a:extLst>
              <a:ext uri="{FF2B5EF4-FFF2-40B4-BE49-F238E27FC236}">
                <a16:creationId xmlns:a16="http://schemas.microsoft.com/office/drawing/2014/main" id="{65E2631D-8C70-45F6-91FF-ADFB38A13DA2}"/>
              </a:ext>
            </a:extLst>
          </p:cNvPr>
          <p:cNvCxnSpPr/>
          <p:nvPr/>
        </p:nvCxnSpPr>
        <p:spPr>
          <a:xfrm>
            <a:off x="4343479" y="5368123"/>
            <a:ext cx="2917564"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2" name="TextBox 71">
            <a:extLst>
              <a:ext uri="{FF2B5EF4-FFF2-40B4-BE49-F238E27FC236}">
                <a16:creationId xmlns:a16="http://schemas.microsoft.com/office/drawing/2014/main" id="{0191A2E4-5E97-40F8-9759-42E3FF3D13B0}"/>
              </a:ext>
            </a:extLst>
          </p:cNvPr>
          <p:cNvSpPr txBox="1"/>
          <p:nvPr/>
        </p:nvSpPr>
        <p:spPr>
          <a:xfrm>
            <a:off x="8840543" y="3250097"/>
            <a:ext cx="2917563" cy="861827"/>
          </a:xfrm>
          <a:prstGeom prst="rect">
            <a:avLst/>
          </a:prstGeom>
          <a:noFill/>
        </p:spPr>
        <p:txBody>
          <a:bodyPr wrap="square" lIns="0" tIns="0" rIns="0" bIns="0" rtlCol="0" anchor="ctr">
            <a:noAutofit/>
          </a:bodyPr>
          <a:lstStyle/>
          <a:p>
            <a:pPr defTabSz="896354">
              <a:spcAft>
                <a:spcPts val="576"/>
              </a:spcAft>
              <a:defRPr/>
            </a:pPr>
            <a:r>
              <a:rPr lang="en-US" sz="1765">
                <a:solidFill>
                  <a:srgbClr val="000000"/>
                </a:solidFill>
                <a:latin typeface="Segoe UI"/>
              </a:rPr>
              <a:t>ALM support regarding</a:t>
            </a:r>
            <a:br>
              <a:rPr lang="en-US" sz="1765">
                <a:solidFill>
                  <a:srgbClr val="000000"/>
                </a:solidFill>
                <a:latin typeface="Segoe UI"/>
              </a:rPr>
            </a:br>
            <a:r>
              <a:rPr lang="en-US" sz="1765">
                <a:solidFill>
                  <a:srgbClr val="000000"/>
                </a:solidFill>
                <a:latin typeface="Segoe UI"/>
              </a:rPr>
              <a:t>apps being created/</a:t>
            </a:r>
            <a:br>
              <a:rPr lang="en-US" sz="1765">
                <a:solidFill>
                  <a:srgbClr val="000000"/>
                </a:solidFill>
                <a:latin typeface="Segoe UI"/>
              </a:rPr>
            </a:br>
            <a:r>
              <a:rPr lang="en-US" sz="1765">
                <a:solidFill>
                  <a:srgbClr val="000000"/>
                </a:solidFill>
                <a:latin typeface="Segoe UI"/>
              </a:rPr>
              <a:t>deployed</a:t>
            </a:r>
          </a:p>
        </p:txBody>
      </p:sp>
      <p:sp>
        <p:nvSpPr>
          <p:cNvPr id="73" name="TextBox 72">
            <a:extLst>
              <a:ext uri="{FF2B5EF4-FFF2-40B4-BE49-F238E27FC236}">
                <a16:creationId xmlns:a16="http://schemas.microsoft.com/office/drawing/2014/main" id="{1AEBCD86-9EA3-4C3F-BD69-02F7A9F2AB19}"/>
              </a:ext>
            </a:extLst>
          </p:cNvPr>
          <p:cNvSpPr txBox="1"/>
          <p:nvPr/>
        </p:nvSpPr>
        <p:spPr>
          <a:xfrm>
            <a:off x="8840542" y="4374836"/>
            <a:ext cx="2917563" cy="861827"/>
          </a:xfrm>
          <a:prstGeom prst="rect">
            <a:avLst/>
          </a:prstGeom>
          <a:noFill/>
        </p:spPr>
        <p:txBody>
          <a:bodyPr wrap="square" lIns="0" tIns="0" rIns="0" bIns="0" rtlCol="0" anchor="ctr">
            <a:noAutofit/>
          </a:bodyPr>
          <a:lstStyle/>
          <a:p>
            <a:pPr defTabSz="896354">
              <a:spcAft>
                <a:spcPts val="576"/>
              </a:spcAft>
              <a:defRPr/>
            </a:pPr>
            <a:r>
              <a:rPr lang="en-US" sz="1765">
                <a:solidFill>
                  <a:srgbClr val="000000"/>
                </a:solidFill>
                <a:latin typeface="Segoe UI"/>
              </a:rPr>
              <a:t>Staff turnover challenges</a:t>
            </a:r>
            <a:br>
              <a:rPr lang="en-US" sz="1765">
                <a:solidFill>
                  <a:srgbClr val="000000"/>
                </a:solidFill>
                <a:latin typeface="Segoe UI"/>
              </a:rPr>
            </a:br>
            <a:r>
              <a:rPr lang="en-US" sz="1765">
                <a:solidFill>
                  <a:srgbClr val="000000"/>
                </a:solidFill>
                <a:latin typeface="Segoe UI"/>
              </a:rPr>
              <a:t>regarding app or flow ownership</a:t>
            </a:r>
          </a:p>
        </p:txBody>
      </p:sp>
      <p:sp>
        <p:nvSpPr>
          <p:cNvPr id="74" name="TextBox 73">
            <a:extLst>
              <a:ext uri="{FF2B5EF4-FFF2-40B4-BE49-F238E27FC236}">
                <a16:creationId xmlns:a16="http://schemas.microsoft.com/office/drawing/2014/main" id="{1666E46F-EE67-453C-9779-11376A9CA4B2}"/>
              </a:ext>
            </a:extLst>
          </p:cNvPr>
          <p:cNvSpPr txBox="1"/>
          <p:nvPr/>
        </p:nvSpPr>
        <p:spPr>
          <a:xfrm>
            <a:off x="8840542" y="2125359"/>
            <a:ext cx="2917563" cy="861827"/>
          </a:xfrm>
          <a:prstGeom prst="rect">
            <a:avLst/>
          </a:prstGeom>
          <a:noFill/>
        </p:spPr>
        <p:txBody>
          <a:bodyPr wrap="square" lIns="0" tIns="0" rIns="0" bIns="0" rtlCol="0" anchor="ctr">
            <a:noAutofit/>
          </a:bodyPr>
          <a:lstStyle/>
          <a:p>
            <a:pPr defTabSz="896354">
              <a:spcAft>
                <a:spcPts val="576"/>
              </a:spcAft>
              <a:defRPr/>
            </a:pPr>
            <a:r>
              <a:rPr lang="en-US" sz="1765">
                <a:solidFill>
                  <a:srgbClr val="000000"/>
                </a:solidFill>
                <a:latin typeface="Segoe UI"/>
              </a:rPr>
              <a:t>Compliancy issues regarding GDPR</a:t>
            </a:r>
          </a:p>
        </p:txBody>
      </p:sp>
      <p:cxnSp>
        <p:nvCxnSpPr>
          <p:cNvPr id="75" name="Straight Connector 74">
            <a:extLst>
              <a:ext uri="{FF2B5EF4-FFF2-40B4-BE49-F238E27FC236}">
                <a16:creationId xmlns:a16="http://schemas.microsoft.com/office/drawing/2014/main" id="{71504337-E20C-422F-B07F-C74247F062EF}"/>
              </a:ext>
            </a:extLst>
          </p:cNvPr>
          <p:cNvCxnSpPr/>
          <p:nvPr/>
        </p:nvCxnSpPr>
        <p:spPr>
          <a:xfrm>
            <a:off x="8840544" y="3118641"/>
            <a:ext cx="2917564"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6" name="Straight Connector 75">
            <a:extLst>
              <a:ext uri="{FF2B5EF4-FFF2-40B4-BE49-F238E27FC236}">
                <a16:creationId xmlns:a16="http://schemas.microsoft.com/office/drawing/2014/main" id="{B2E38ECE-6F99-43EF-95B0-C2D6D37DD3C9}"/>
              </a:ext>
            </a:extLst>
          </p:cNvPr>
          <p:cNvCxnSpPr/>
          <p:nvPr/>
        </p:nvCxnSpPr>
        <p:spPr>
          <a:xfrm>
            <a:off x="8840544" y="4243380"/>
            <a:ext cx="2917564"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7" name="TextBox 76">
            <a:extLst>
              <a:ext uri="{FF2B5EF4-FFF2-40B4-BE49-F238E27FC236}">
                <a16:creationId xmlns:a16="http://schemas.microsoft.com/office/drawing/2014/main" id="{07194C7E-B15E-43CF-B4EF-7F23DF1F5AC3}"/>
              </a:ext>
            </a:extLst>
          </p:cNvPr>
          <p:cNvSpPr txBox="1"/>
          <p:nvPr/>
        </p:nvSpPr>
        <p:spPr>
          <a:xfrm>
            <a:off x="8840542" y="5499577"/>
            <a:ext cx="2917563" cy="861827"/>
          </a:xfrm>
          <a:prstGeom prst="rect">
            <a:avLst/>
          </a:prstGeom>
          <a:noFill/>
        </p:spPr>
        <p:txBody>
          <a:bodyPr wrap="square" lIns="0" tIns="0" rIns="0" bIns="0" rtlCol="0" anchor="ctr">
            <a:noAutofit/>
          </a:bodyPr>
          <a:lstStyle/>
          <a:p>
            <a:pPr defTabSz="896354">
              <a:spcAft>
                <a:spcPts val="576"/>
              </a:spcAft>
              <a:defRPr/>
            </a:pPr>
            <a:r>
              <a:rPr lang="en-US" sz="1765">
                <a:solidFill>
                  <a:srgbClr val="000000"/>
                </a:solidFill>
                <a:latin typeface="Segoe UI"/>
              </a:rPr>
              <a:t>Information risk management</a:t>
            </a:r>
          </a:p>
        </p:txBody>
      </p:sp>
      <p:cxnSp>
        <p:nvCxnSpPr>
          <p:cNvPr id="78" name="Straight Connector 77">
            <a:extLst>
              <a:ext uri="{FF2B5EF4-FFF2-40B4-BE49-F238E27FC236}">
                <a16:creationId xmlns:a16="http://schemas.microsoft.com/office/drawing/2014/main" id="{223AEFF3-2DE2-4809-A6DE-190E1CF3EAC4}"/>
              </a:ext>
            </a:extLst>
          </p:cNvPr>
          <p:cNvCxnSpPr/>
          <p:nvPr/>
        </p:nvCxnSpPr>
        <p:spPr>
          <a:xfrm>
            <a:off x="8840544" y="5368119"/>
            <a:ext cx="2917564" cy="0"/>
          </a:xfrm>
          <a:prstGeom prst="line">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84" name="Group 83">
            <a:extLst>
              <a:ext uri="{FF2B5EF4-FFF2-40B4-BE49-F238E27FC236}">
                <a16:creationId xmlns:a16="http://schemas.microsoft.com/office/drawing/2014/main" id="{A54CBE7D-3D6C-40F0-A4B7-AD25DFFE4B71}"/>
              </a:ext>
            </a:extLst>
          </p:cNvPr>
          <p:cNvGrpSpPr/>
          <p:nvPr/>
        </p:nvGrpSpPr>
        <p:grpSpPr>
          <a:xfrm>
            <a:off x="11573841" y="6233169"/>
            <a:ext cx="808503" cy="624345"/>
            <a:chOff x="11933471" y="5875661"/>
            <a:chExt cx="697164" cy="538366"/>
          </a:xfrm>
        </p:grpSpPr>
        <p:sp>
          <p:nvSpPr>
            <p:cNvPr id="82" name="Hexagon 81">
              <a:extLst>
                <a:ext uri="{FF2B5EF4-FFF2-40B4-BE49-F238E27FC236}">
                  <a16:creationId xmlns:a16="http://schemas.microsoft.com/office/drawing/2014/main" id="{A99142D3-C260-46A1-B7E2-C44019C2E4C7}"/>
                </a:ext>
              </a:extLst>
            </p:cNvPr>
            <p:cNvSpPr/>
            <p:nvPr/>
          </p:nvSpPr>
          <p:spPr bwMode="auto">
            <a:xfrm flipH="1" flipV="1">
              <a:off x="12119928" y="5973763"/>
              <a:ext cx="510707" cy="440264"/>
            </a:xfrm>
            <a:prstGeom prst="hexagon">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cs typeface="Segoe UI" pitchFamily="34" charset="0"/>
              </a:endParaRPr>
            </a:p>
          </p:txBody>
        </p:sp>
        <p:sp>
          <p:nvSpPr>
            <p:cNvPr id="83" name="Hexagon 82">
              <a:extLst>
                <a:ext uri="{FF2B5EF4-FFF2-40B4-BE49-F238E27FC236}">
                  <a16:creationId xmlns:a16="http://schemas.microsoft.com/office/drawing/2014/main" id="{0704ABED-C079-41FD-8160-B37C605C0ABA}"/>
                </a:ext>
              </a:extLst>
            </p:cNvPr>
            <p:cNvSpPr/>
            <p:nvPr/>
          </p:nvSpPr>
          <p:spPr bwMode="auto">
            <a:xfrm flipH="1" flipV="1">
              <a:off x="11933471" y="5875661"/>
              <a:ext cx="510707" cy="440264"/>
            </a:xfrm>
            <a:prstGeom prst="hexagon">
              <a:avLst/>
            </a:prstGeom>
            <a:no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err="1">
                <a:gradFill>
                  <a:gsLst>
                    <a:gs pos="0">
                      <a:srgbClr val="FFFFFF"/>
                    </a:gs>
                    <a:gs pos="100000">
                      <a:srgbClr val="FFFFFF"/>
                    </a:gs>
                  </a:gsLst>
                  <a:lin ang="5400000" scaled="0"/>
                </a:gradFill>
                <a:latin typeface="Segoe UI"/>
                <a:cs typeface="Segoe UI" pitchFamily="34" charset="0"/>
              </a:endParaRPr>
            </a:p>
          </p:txBody>
        </p:sp>
      </p:grpSp>
      <p:grpSp>
        <p:nvGrpSpPr>
          <p:cNvPr id="85" name="Graphic 13">
            <a:extLst>
              <a:ext uri="{FF2B5EF4-FFF2-40B4-BE49-F238E27FC236}">
                <a16:creationId xmlns:a16="http://schemas.microsoft.com/office/drawing/2014/main" id="{7F523AE9-AB7F-4C50-A829-EB3225EC8189}"/>
              </a:ext>
            </a:extLst>
          </p:cNvPr>
          <p:cNvGrpSpPr/>
          <p:nvPr/>
        </p:nvGrpSpPr>
        <p:grpSpPr>
          <a:xfrm>
            <a:off x="3440190" y="2348777"/>
            <a:ext cx="607666" cy="414991"/>
            <a:chOff x="6022974" y="3363912"/>
            <a:chExt cx="390525" cy="266700"/>
          </a:xfrm>
        </p:grpSpPr>
        <p:sp>
          <p:nvSpPr>
            <p:cNvPr id="86" name="Freeform: Shape 85">
              <a:extLst>
                <a:ext uri="{FF2B5EF4-FFF2-40B4-BE49-F238E27FC236}">
                  <a16:creationId xmlns:a16="http://schemas.microsoft.com/office/drawing/2014/main" id="{FE0F0266-3935-448D-B5A4-943656B6B3C5}"/>
                </a:ext>
              </a:extLst>
            </p:cNvPr>
            <p:cNvSpPr/>
            <p:nvPr/>
          </p:nvSpPr>
          <p:spPr>
            <a:xfrm>
              <a:off x="6025355" y="3366293"/>
              <a:ext cx="40958" cy="73247"/>
            </a:xfrm>
            <a:custGeom>
              <a:avLst/>
              <a:gdLst>
                <a:gd name="connsiteX0" fmla="*/ 20479 w 40958"/>
                <a:gd name="connsiteY0" fmla="*/ 73247 h 73247"/>
                <a:gd name="connsiteX1" fmla="*/ 20479 w 40958"/>
                <a:gd name="connsiteY1" fmla="*/ 73247 h 73247"/>
                <a:gd name="connsiteX2" fmla="*/ 0 w 40958"/>
                <a:gd name="connsiteY2" fmla="*/ 52769 h 73247"/>
                <a:gd name="connsiteX3" fmla="*/ 0 w 40958"/>
                <a:gd name="connsiteY3" fmla="*/ 20479 h 73247"/>
                <a:gd name="connsiteX4" fmla="*/ 20479 w 40958"/>
                <a:gd name="connsiteY4" fmla="*/ 0 h 73247"/>
                <a:gd name="connsiteX5" fmla="*/ 20479 w 40958"/>
                <a:gd name="connsiteY5" fmla="*/ 0 h 73247"/>
                <a:gd name="connsiteX6" fmla="*/ 40958 w 40958"/>
                <a:gd name="connsiteY6" fmla="*/ 20479 h 73247"/>
                <a:gd name="connsiteX7" fmla="*/ 40958 w 40958"/>
                <a:gd name="connsiteY7" fmla="*/ 52673 h 73247"/>
                <a:gd name="connsiteX8" fmla="*/ 20479 w 40958"/>
                <a:gd name="connsiteY8" fmla="*/ 73247 h 73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8" h="73247">
                  <a:moveTo>
                    <a:pt x="20479" y="73247"/>
                  </a:moveTo>
                  <a:lnTo>
                    <a:pt x="20479" y="73247"/>
                  </a:lnTo>
                  <a:cubicBezTo>
                    <a:pt x="9144" y="73247"/>
                    <a:pt x="0" y="64103"/>
                    <a:pt x="0" y="52769"/>
                  </a:cubicBezTo>
                  <a:lnTo>
                    <a:pt x="0" y="20479"/>
                  </a:lnTo>
                  <a:cubicBezTo>
                    <a:pt x="0" y="9144"/>
                    <a:pt x="9144" y="0"/>
                    <a:pt x="20479" y="0"/>
                  </a:cubicBezTo>
                  <a:lnTo>
                    <a:pt x="20479" y="0"/>
                  </a:lnTo>
                  <a:cubicBezTo>
                    <a:pt x="31814" y="0"/>
                    <a:pt x="40958" y="9144"/>
                    <a:pt x="40958" y="20479"/>
                  </a:cubicBezTo>
                  <a:lnTo>
                    <a:pt x="40958" y="52673"/>
                  </a:lnTo>
                  <a:cubicBezTo>
                    <a:pt x="41053" y="64008"/>
                    <a:pt x="31814" y="73247"/>
                    <a:pt x="20479" y="73247"/>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87" name="Freeform: Shape 86">
              <a:extLst>
                <a:ext uri="{FF2B5EF4-FFF2-40B4-BE49-F238E27FC236}">
                  <a16:creationId xmlns:a16="http://schemas.microsoft.com/office/drawing/2014/main" id="{0E61186B-BB84-4A31-B65E-5CC4CAC3B8B2}"/>
                </a:ext>
              </a:extLst>
            </p:cNvPr>
            <p:cNvSpPr/>
            <p:nvPr/>
          </p:nvSpPr>
          <p:spPr>
            <a:xfrm>
              <a:off x="6140893" y="3366293"/>
              <a:ext cx="40290" cy="72961"/>
            </a:xfrm>
            <a:custGeom>
              <a:avLst/>
              <a:gdLst>
                <a:gd name="connsiteX0" fmla="*/ 40291 w 40290"/>
                <a:gd name="connsiteY0" fmla="*/ 15335 h 72961"/>
                <a:gd name="connsiteX1" fmla="*/ 20479 w 40290"/>
                <a:gd name="connsiteY1" fmla="*/ 0 h 72961"/>
                <a:gd name="connsiteX2" fmla="*/ 20479 w 40290"/>
                <a:gd name="connsiteY2" fmla="*/ 0 h 72961"/>
                <a:gd name="connsiteX3" fmla="*/ 0 w 40290"/>
                <a:gd name="connsiteY3" fmla="*/ 20479 h 72961"/>
                <a:gd name="connsiteX4" fmla="*/ 0 w 40290"/>
                <a:gd name="connsiteY4" fmla="*/ 52673 h 72961"/>
                <a:gd name="connsiteX5" fmla="*/ 17716 w 40290"/>
                <a:gd name="connsiteY5" fmla="*/ 72962 h 72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90" h="72961">
                  <a:moveTo>
                    <a:pt x="40291" y="15335"/>
                  </a:moveTo>
                  <a:cubicBezTo>
                    <a:pt x="38005" y="6477"/>
                    <a:pt x="30004" y="0"/>
                    <a:pt x="20479" y="0"/>
                  </a:cubicBezTo>
                  <a:lnTo>
                    <a:pt x="20479" y="0"/>
                  </a:lnTo>
                  <a:cubicBezTo>
                    <a:pt x="9144" y="0"/>
                    <a:pt x="0" y="9144"/>
                    <a:pt x="0" y="20479"/>
                  </a:cubicBezTo>
                  <a:lnTo>
                    <a:pt x="0" y="52673"/>
                  </a:lnTo>
                  <a:cubicBezTo>
                    <a:pt x="0" y="63056"/>
                    <a:pt x="7715" y="71628"/>
                    <a:pt x="17716" y="7296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88" name="Freeform: Shape 87">
              <a:extLst>
                <a:ext uri="{FF2B5EF4-FFF2-40B4-BE49-F238E27FC236}">
                  <a16:creationId xmlns:a16="http://schemas.microsoft.com/office/drawing/2014/main" id="{EFA868B7-CA60-4BBD-8A3C-F69F776EBF0E}"/>
                </a:ext>
              </a:extLst>
            </p:cNvPr>
            <p:cNvSpPr/>
            <p:nvPr/>
          </p:nvSpPr>
          <p:spPr>
            <a:xfrm>
              <a:off x="6087648" y="3366864"/>
              <a:ext cx="17240" cy="70294"/>
            </a:xfrm>
            <a:custGeom>
              <a:avLst/>
              <a:gdLst>
                <a:gd name="connsiteX0" fmla="*/ 17240 w 17240"/>
                <a:gd name="connsiteY0" fmla="*/ 70295 h 70294"/>
                <a:gd name="connsiteX1" fmla="*/ 17240 w 17240"/>
                <a:gd name="connsiteY1" fmla="*/ 0 h 70294"/>
                <a:gd name="connsiteX2" fmla="*/ 0 w 17240"/>
                <a:gd name="connsiteY2" fmla="*/ 0 h 70294"/>
              </a:gdLst>
              <a:ahLst/>
              <a:cxnLst>
                <a:cxn ang="0">
                  <a:pos x="connsiteX0" y="connsiteY0"/>
                </a:cxn>
                <a:cxn ang="0">
                  <a:pos x="connsiteX1" y="connsiteY1"/>
                </a:cxn>
                <a:cxn ang="0">
                  <a:pos x="connsiteX2" y="connsiteY2"/>
                </a:cxn>
              </a:cxnLst>
              <a:rect l="l" t="t" r="r" b="b"/>
              <a:pathLst>
                <a:path w="17240" h="70294">
                  <a:moveTo>
                    <a:pt x="17240" y="70295"/>
                  </a:moveTo>
                  <a:lnTo>
                    <a:pt x="17240" y="0"/>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89" name="Freeform: Shape 88">
              <a:extLst>
                <a:ext uri="{FF2B5EF4-FFF2-40B4-BE49-F238E27FC236}">
                  <a16:creationId xmlns:a16="http://schemas.microsoft.com/office/drawing/2014/main" id="{0D049A96-0069-45B3-A3C0-36BBBE147E6B}"/>
                </a:ext>
              </a:extLst>
            </p:cNvPr>
            <p:cNvSpPr/>
            <p:nvPr/>
          </p:nvSpPr>
          <p:spPr>
            <a:xfrm>
              <a:off x="6088125" y="3439540"/>
              <a:ext cx="33051" cy="9525"/>
            </a:xfrm>
            <a:custGeom>
              <a:avLst/>
              <a:gdLst>
                <a:gd name="connsiteX0" fmla="*/ 0 w 33051"/>
                <a:gd name="connsiteY0" fmla="*/ 0 h 9525"/>
                <a:gd name="connsiteX1" fmla="*/ 33052 w 33051"/>
                <a:gd name="connsiteY1" fmla="*/ 0 h 9525"/>
              </a:gdLst>
              <a:ahLst/>
              <a:cxnLst>
                <a:cxn ang="0">
                  <a:pos x="connsiteX0" y="connsiteY0"/>
                </a:cxn>
                <a:cxn ang="0">
                  <a:pos x="connsiteX1" y="connsiteY1"/>
                </a:cxn>
              </a:cxnLst>
              <a:rect l="l" t="t" r="r" b="b"/>
              <a:pathLst>
                <a:path w="33051" h="9525">
                  <a:moveTo>
                    <a:pt x="0" y="0"/>
                  </a:moveTo>
                  <a:lnTo>
                    <a:pt x="33052"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90" name="Freeform: Shape 89">
              <a:extLst>
                <a:ext uri="{FF2B5EF4-FFF2-40B4-BE49-F238E27FC236}">
                  <a16:creationId xmlns:a16="http://schemas.microsoft.com/office/drawing/2014/main" id="{A52FF88D-F4DA-484A-9BB2-D5567069D3FD}"/>
                </a:ext>
              </a:extLst>
            </p:cNvPr>
            <p:cNvSpPr/>
            <p:nvPr/>
          </p:nvSpPr>
          <p:spPr>
            <a:xfrm>
              <a:off x="6260908" y="3366864"/>
              <a:ext cx="17240" cy="70294"/>
            </a:xfrm>
            <a:custGeom>
              <a:avLst/>
              <a:gdLst>
                <a:gd name="connsiteX0" fmla="*/ 17240 w 17240"/>
                <a:gd name="connsiteY0" fmla="*/ 70295 h 70294"/>
                <a:gd name="connsiteX1" fmla="*/ 17240 w 17240"/>
                <a:gd name="connsiteY1" fmla="*/ 0 h 70294"/>
                <a:gd name="connsiteX2" fmla="*/ 0 w 17240"/>
                <a:gd name="connsiteY2" fmla="*/ 0 h 70294"/>
              </a:gdLst>
              <a:ahLst/>
              <a:cxnLst>
                <a:cxn ang="0">
                  <a:pos x="connsiteX0" y="connsiteY0"/>
                </a:cxn>
                <a:cxn ang="0">
                  <a:pos x="connsiteX1" y="connsiteY1"/>
                </a:cxn>
                <a:cxn ang="0">
                  <a:pos x="connsiteX2" y="connsiteY2"/>
                </a:cxn>
              </a:cxnLst>
              <a:rect l="l" t="t" r="r" b="b"/>
              <a:pathLst>
                <a:path w="17240" h="70294">
                  <a:moveTo>
                    <a:pt x="17240" y="70295"/>
                  </a:moveTo>
                  <a:lnTo>
                    <a:pt x="17240" y="0"/>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91" name="Freeform: Shape 90">
              <a:extLst>
                <a:ext uri="{FF2B5EF4-FFF2-40B4-BE49-F238E27FC236}">
                  <a16:creationId xmlns:a16="http://schemas.microsoft.com/office/drawing/2014/main" id="{2C7DDBF8-9055-4FF9-8766-A57BF26C9CB6}"/>
                </a:ext>
              </a:extLst>
            </p:cNvPr>
            <p:cNvSpPr/>
            <p:nvPr/>
          </p:nvSpPr>
          <p:spPr>
            <a:xfrm>
              <a:off x="6278148" y="3439540"/>
              <a:ext cx="16287" cy="9525"/>
            </a:xfrm>
            <a:custGeom>
              <a:avLst/>
              <a:gdLst>
                <a:gd name="connsiteX0" fmla="*/ 0 w 16287"/>
                <a:gd name="connsiteY0" fmla="*/ 0 h 9525"/>
                <a:gd name="connsiteX1" fmla="*/ 16288 w 16287"/>
                <a:gd name="connsiteY1" fmla="*/ 0 h 9525"/>
              </a:gdLst>
              <a:ahLst/>
              <a:cxnLst>
                <a:cxn ang="0">
                  <a:pos x="connsiteX0" y="connsiteY0"/>
                </a:cxn>
                <a:cxn ang="0">
                  <a:pos x="connsiteX1" y="connsiteY1"/>
                </a:cxn>
              </a:cxnLst>
              <a:rect l="l" t="t" r="r" b="b"/>
              <a:pathLst>
                <a:path w="16287" h="9525">
                  <a:moveTo>
                    <a:pt x="0" y="0"/>
                  </a:moveTo>
                  <a:lnTo>
                    <a:pt x="16288"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92" name="Freeform: Shape 91">
              <a:extLst>
                <a:ext uri="{FF2B5EF4-FFF2-40B4-BE49-F238E27FC236}">
                  <a16:creationId xmlns:a16="http://schemas.microsoft.com/office/drawing/2014/main" id="{215B8198-4FD7-4B7F-BFAD-C53C8D3D7745}"/>
                </a:ext>
              </a:extLst>
            </p:cNvPr>
            <p:cNvSpPr/>
            <p:nvPr/>
          </p:nvSpPr>
          <p:spPr>
            <a:xfrm>
              <a:off x="6305199" y="3366293"/>
              <a:ext cx="40957" cy="73152"/>
            </a:xfrm>
            <a:custGeom>
              <a:avLst/>
              <a:gdLst>
                <a:gd name="connsiteX0" fmla="*/ 40958 w 40957"/>
                <a:gd name="connsiteY0" fmla="*/ 52673 h 73152"/>
                <a:gd name="connsiteX1" fmla="*/ 40958 w 40957"/>
                <a:gd name="connsiteY1" fmla="*/ 20479 h 73152"/>
                <a:gd name="connsiteX2" fmla="*/ 20479 w 40957"/>
                <a:gd name="connsiteY2" fmla="*/ 0 h 73152"/>
                <a:gd name="connsiteX3" fmla="*/ 20479 w 40957"/>
                <a:gd name="connsiteY3" fmla="*/ 0 h 73152"/>
                <a:gd name="connsiteX4" fmla="*/ 0 w 40957"/>
                <a:gd name="connsiteY4" fmla="*/ 20479 h 73152"/>
                <a:gd name="connsiteX5" fmla="*/ 0 w 40957"/>
                <a:gd name="connsiteY5" fmla="*/ 52673 h 73152"/>
                <a:gd name="connsiteX6" fmla="*/ 20479 w 40957"/>
                <a:gd name="connsiteY6" fmla="*/ 73152 h 73152"/>
                <a:gd name="connsiteX7" fmla="*/ 20479 w 40957"/>
                <a:gd name="connsiteY7" fmla="*/ 73152 h 73152"/>
                <a:gd name="connsiteX8" fmla="*/ 40958 w 40957"/>
                <a:gd name="connsiteY8" fmla="*/ 52673 h 73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 h="73152">
                  <a:moveTo>
                    <a:pt x="40958" y="52673"/>
                  </a:moveTo>
                  <a:lnTo>
                    <a:pt x="40958" y="20479"/>
                  </a:lnTo>
                  <a:cubicBezTo>
                    <a:pt x="40958" y="9144"/>
                    <a:pt x="31814" y="0"/>
                    <a:pt x="20479" y="0"/>
                  </a:cubicBezTo>
                  <a:lnTo>
                    <a:pt x="20479" y="0"/>
                  </a:lnTo>
                  <a:cubicBezTo>
                    <a:pt x="9144" y="0"/>
                    <a:pt x="0" y="9144"/>
                    <a:pt x="0" y="20479"/>
                  </a:cubicBezTo>
                  <a:lnTo>
                    <a:pt x="0" y="52673"/>
                  </a:lnTo>
                  <a:cubicBezTo>
                    <a:pt x="0" y="64008"/>
                    <a:pt x="9144" y="73152"/>
                    <a:pt x="20479" y="73152"/>
                  </a:cubicBezTo>
                  <a:lnTo>
                    <a:pt x="20479" y="73152"/>
                  </a:lnTo>
                  <a:cubicBezTo>
                    <a:pt x="31814" y="73247"/>
                    <a:pt x="40958" y="64008"/>
                    <a:pt x="40958" y="52673"/>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93" name="Freeform: Shape 92">
              <a:extLst>
                <a:ext uri="{FF2B5EF4-FFF2-40B4-BE49-F238E27FC236}">
                  <a16:creationId xmlns:a16="http://schemas.microsoft.com/office/drawing/2014/main" id="{202BB08B-868D-42E3-9CD8-2515A3A602B5}"/>
                </a:ext>
              </a:extLst>
            </p:cNvPr>
            <p:cNvSpPr/>
            <p:nvPr/>
          </p:nvSpPr>
          <p:spPr>
            <a:xfrm>
              <a:off x="6366255" y="3366864"/>
              <a:ext cx="17240" cy="70294"/>
            </a:xfrm>
            <a:custGeom>
              <a:avLst/>
              <a:gdLst>
                <a:gd name="connsiteX0" fmla="*/ 17240 w 17240"/>
                <a:gd name="connsiteY0" fmla="*/ 70295 h 70294"/>
                <a:gd name="connsiteX1" fmla="*/ 17240 w 17240"/>
                <a:gd name="connsiteY1" fmla="*/ 0 h 70294"/>
                <a:gd name="connsiteX2" fmla="*/ 0 w 17240"/>
                <a:gd name="connsiteY2" fmla="*/ 0 h 70294"/>
              </a:gdLst>
              <a:ahLst/>
              <a:cxnLst>
                <a:cxn ang="0">
                  <a:pos x="connsiteX0" y="connsiteY0"/>
                </a:cxn>
                <a:cxn ang="0">
                  <a:pos x="connsiteX1" y="connsiteY1"/>
                </a:cxn>
                <a:cxn ang="0">
                  <a:pos x="connsiteX2" y="connsiteY2"/>
                </a:cxn>
              </a:cxnLst>
              <a:rect l="l" t="t" r="r" b="b"/>
              <a:pathLst>
                <a:path w="17240" h="70294">
                  <a:moveTo>
                    <a:pt x="17240" y="70295"/>
                  </a:moveTo>
                  <a:lnTo>
                    <a:pt x="17240" y="0"/>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94" name="Freeform: Shape 93">
              <a:extLst>
                <a:ext uri="{FF2B5EF4-FFF2-40B4-BE49-F238E27FC236}">
                  <a16:creationId xmlns:a16="http://schemas.microsoft.com/office/drawing/2014/main" id="{6C6B5588-0B77-4DE7-8D0A-CA0A7F47111A}"/>
                </a:ext>
              </a:extLst>
            </p:cNvPr>
            <p:cNvSpPr/>
            <p:nvPr/>
          </p:nvSpPr>
          <p:spPr>
            <a:xfrm>
              <a:off x="6366731" y="3439540"/>
              <a:ext cx="33051" cy="9525"/>
            </a:xfrm>
            <a:custGeom>
              <a:avLst/>
              <a:gdLst>
                <a:gd name="connsiteX0" fmla="*/ 0 w 33051"/>
                <a:gd name="connsiteY0" fmla="*/ 0 h 9525"/>
                <a:gd name="connsiteX1" fmla="*/ 33052 w 33051"/>
                <a:gd name="connsiteY1" fmla="*/ 0 h 9525"/>
              </a:gdLst>
              <a:ahLst/>
              <a:cxnLst>
                <a:cxn ang="0">
                  <a:pos x="connsiteX0" y="connsiteY0"/>
                </a:cxn>
                <a:cxn ang="0">
                  <a:pos x="connsiteX1" y="connsiteY1"/>
                </a:cxn>
              </a:cxnLst>
              <a:rect l="l" t="t" r="r" b="b"/>
              <a:pathLst>
                <a:path w="33051" h="9525">
                  <a:moveTo>
                    <a:pt x="0" y="0"/>
                  </a:moveTo>
                  <a:lnTo>
                    <a:pt x="33052"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95" name="Freeform: Shape 94">
              <a:extLst>
                <a:ext uri="{FF2B5EF4-FFF2-40B4-BE49-F238E27FC236}">
                  <a16:creationId xmlns:a16="http://schemas.microsoft.com/office/drawing/2014/main" id="{72AC9892-A724-453D-9258-ECBC7C4262A6}"/>
                </a:ext>
              </a:extLst>
            </p:cNvPr>
            <p:cNvSpPr/>
            <p:nvPr/>
          </p:nvSpPr>
          <p:spPr>
            <a:xfrm>
              <a:off x="6084600" y="3460400"/>
              <a:ext cx="40481" cy="73151"/>
            </a:xfrm>
            <a:custGeom>
              <a:avLst/>
              <a:gdLst>
                <a:gd name="connsiteX0" fmla="*/ 40481 w 40481"/>
                <a:gd name="connsiteY0" fmla="*/ 15716 h 73151"/>
                <a:gd name="connsiteX1" fmla="*/ 20479 w 40481"/>
                <a:gd name="connsiteY1" fmla="*/ 0 h 73151"/>
                <a:gd name="connsiteX2" fmla="*/ 20479 w 40481"/>
                <a:gd name="connsiteY2" fmla="*/ 0 h 73151"/>
                <a:gd name="connsiteX3" fmla="*/ 0 w 40481"/>
                <a:gd name="connsiteY3" fmla="*/ 20479 h 73151"/>
                <a:gd name="connsiteX4" fmla="*/ 0 w 40481"/>
                <a:gd name="connsiteY4" fmla="*/ 52673 h 73151"/>
                <a:gd name="connsiteX5" fmla="*/ 20479 w 40481"/>
                <a:gd name="connsiteY5" fmla="*/ 73152 h 73151"/>
                <a:gd name="connsiteX6" fmla="*/ 20479 w 40481"/>
                <a:gd name="connsiteY6" fmla="*/ 73152 h 73151"/>
                <a:gd name="connsiteX7" fmla="*/ 38005 w 40481"/>
                <a:gd name="connsiteY7" fmla="*/ 6334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81" h="73151">
                  <a:moveTo>
                    <a:pt x="40481" y="15716"/>
                  </a:moveTo>
                  <a:cubicBezTo>
                    <a:pt x="38291" y="6667"/>
                    <a:pt x="30194" y="0"/>
                    <a:pt x="20479" y="0"/>
                  </a:cubicBezTo>
                  <a:lnTo>
                    <a:pt x="20479" y="0"/>
                  </a:lnTo>
                  <a:cubicBezTo>
                    <a:pt x="9144" y="0"/>
                    <a:pt x="0" y="9144"/>
                    <a:pt x="0" y="20479"/>
                  </a:cubicBezTo>
                  <a:lnTo>
                    <a:pt x="0" y="52673"/>
                  </a:lnTo>
                  <a:cubicBezTo>
                    <a:pt x="0" y="64008"/>
                    <a:pt x="9144" y="73152"/>
                    <a:pt x="20479" y="73152"/>
                  </a:cubicBezTo>
                  <a:lnTo>
                    <a:pt x="20479" y="73152"/>
                  </a:lnTo>
                  <a:cubicBezTo>
                    <a:pt x="27908" y="73152"/>
                    <a:pt x="34385" y="69247"/>
                    <a:pt x="38005" y="6334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96" name="Freeform: Shape 95">
              <a:extLst>
                <a:ext uri="{FF2B5EF4-FFF2-40B4-BE49-F238E27FC236}">
                  <a16:creationId xmlns:a16="http://schemas.microsoft.com/office/drawing/2014/main" id="{8BCF2C47-D050-46C1-9FA2-ED660541AF72}"/>
                </a:ext>
              </a:extLst>
            </p:cNvPr>
            <p:cNvSpPr/>
            <p:nvPr/>
          </p:nvSpPr>
          <p:spPr>
            <a:xfrm>
              <a:off x="6032879" y="3460971"/>
              <a:ext cx="17240" cy="70199"/>
            </a:xfrm>
            <a:custGeom>
              <a:avLst/>
              <a:gdLst>
                <a:gd name="connsiteX0" fmla="*/ 17240 w 17240"/>
                <a:gd name="connsiteY0" fmla="*/ 70199 h 70199"/>
                <a:gd name="connsiteX1" fmla="*/ 17240 w 17240"/>
                <a:gd name="connsiteY1" fmla="*/ 0 h 70199"/>
                <a:gd name="connsiteX2" fmla="*/ 0 w 17240"/>
                <a:gd name="connsiteY2" fmla="*/ 0 h 70199"/>
              </a:gdLst>
              <a:ahLst/>
              <a:cxnLst>
                <a:cxn ang="0">
                  <a:pos x="connsiteX0" y="connsiteY0"/>
                </a:cxn>
                <a:cxn ang="0">
                  <a:pos x="connsiteX1" y="connsiteY1"/>
                </a:cxn>
                <a:cxn ang="0">
                  <a:pos x="connsiteX2" y="connsiteY2"/>
                </a:cxn>
              </a:cxnLst>
              <a:rect l="l" t="t" r="r" b="b"/>
              <a:pathLst>
                <a:path w="17240" h="70199">
                  <a:moveTo>
                    <a:pt x="17240" y="70199"/>
                  </a:moveTo>
                  <a:lnTo>
                    <a:pt x="17240" y="0"/>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97" name="Freeform: Shape 96">
              <a:extLst>
                <a:ext uri="{FF2B5EF4-FFF2-40B4-BE49-F238E27FC236}">
                  <a16:creationId xmlns:a16="http://schemas.microsoft.com/office/drawing/2014/main" id="{396EAEA5-0685-463B-8379-3E66CB3B8EFB}"/>
                </a:ext>
              </a:extLst>
            </p:cNvPr>
            <p:cNvSpPr/>
            <p:nvPr/>
          </p:nvSpPr>
          <p:spPr>
            <a:xfrm>
              <a:off x="6033356" y="3533552"/>
              <a:ext cx="33051" cy="9525"/>
            </a:xfrm>
            <a:custGeom>
              <a:avLst/>
              <a:gdLst>
                <a:gd name="connsiteX0" fmla="*/ 0 w 33051"/>
                <a:gd name="connsiteY0" fmla="*/ 0 h 9525"/>
                <a:gd name="connsiteX1" fmla="*/ 33052 w 33051"/>
                <a:gd name="connsiteY1" fmla="*/ 0 h 9525"/>
              </a:gdLst>
              <a:ahLst/>
              <a:cxnLst>
                <a:cxn ang="0">
                  <a:pos x="connsiteX0" y="connsiteY0"/>
                </a:cxn>
                <a:cxn ang="0">
                  <a:pos x="connsiteX1" y="connsiteY1"/>
                </a:cxn>
              </a:cxnLst>
              <a:rect l="l" t="t" r="r" b="b"/>
              <a:pathLst>
                <a:path w="33051" h="9525">
                  <a:moveTo>
                    <a:pt x="0" y="0"/>
                  </a:moveTo>
                  <a:lnTo>
                    <a:pt x="33052"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98" name="Freeform: Shape 97">
              <a:extLst>
                <a:ext uri="{FF2B5EF4-FFF2-40B4-BE49-F238E27FC236}">
                  <a16:creationId xmlns:a16="http://schemas.microsoft.com/office/drawing/2014/main" id="{FC6A7848-39BE-4C62-9824-52CA5D264FF3}"/>
                </a:ext>
              </a:extLst>
            </p:cNvPr>
            <p:cNvSpPr/>
            <p:nvPr/>
          </p:nvSpPr>
          <p:spPr>
            <a:xfrm>
              <a:off x="6311295" y="3460400"/>
              <a:ext cx="39338" cy="73151"/>
            </a:xfrm>
            <a:custGeom>
              <a:avLst/>
              <a:gdLst>
                <a:gd name="connsiteX0" fmla="*/ 3619 w 39338"/>
                <a:gd name="connsiteY0" fmla="*/ 66389 h 73151"/>
                <a:gd name="connsiteX1" fmla="*/ 18859 w 39338"/>
                <a:gd name="connsiteY1" fmla="*/ 73152 h 73151"/>
                <a:gd name="connsiteX2" fmla="*/ 18859 w 39338"/>
                <a:gd name="connsiteY2" fmla="*/ 73152 h 73151"/>
                <a:gd name="connsiteX3" fmla="*/ 39338 w 39338"/>
                <a:gd name="connsiteY3" fmla="*/ 52673 h 73151"/>
                <a:gd name="connsiteX4" fmla="*/ 39338 w 39338"/>
                <a:gd name="connsiteY4" fmla="*/ 20479 h 73151"/>
                <a:gd name="connsiteX5" fmla="*/ 18859 w 39338"/>
                <a:gd name="connsiteY5" fmla="*/ 0 h 73151"/>
                <a:gd name="connsiteX6" fmla="*/ 18859 w 39338"/>
                <a:gd name="connsiteY6" fmla="*/ 0 h 73151"/>
                <a:gd name="connsiteX7" fmla="*/ 0 w 39338"/>
                <a:gd name="connsiteY7" fmla="*/ 12573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38" h="73151">
                  <a:moveTo>
                    <a:pt x="3619" y="66389"/>
                  </a:moveTo>
                  <a:cubicBezTo>
                    <a:pt x="7334" y="70580"/>
                    <a:pt x="12859" y="73152"/>
                    <a:pt x="18859" y="73152"/>
                  </a:cubicBezTo>
                  <a:lnTo>
                    <a:pt x="18859" y="73152"/>
                  </a:lnTo>
                  <a:cubicBezTo>
                    <a:pt x="30194" y="73152"/>
                    <a:pt x="39338" y="64008"/>
                    <a:pt x="39338" y="52673"/>
                  </a:cubicBezTo>
                  <a:lnTo>
                    <a:pt x="39338" y="20479"/>
                  </a:lnTo>
                  <a:cubicBezTo>
                    <a:pt x="39338" y="9144"/>
                    <a:pt x="30194" y="0"/>
                    <a:pt x="18859" y="0"/>
                  </a:cubicBezTo>
                  <a:lnTo>
                    <a:pt x="18859" y="0"/>
                  </a:lnTo>
                  <a:cubicBezTo>
                    <a:pt x="10382" y="0"/>
                    <a:pt x="3048" y="5143"/>
                    <a:pt x="0" y="12573"/>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99" name="Freeform: Shape 98">
              <a:extLst>
                <a:ext uri="{FF2B5EF4-FFF2-40B4-BE49-F238E27FC236}">
                  <a16:creationId xmlns:a16="http://schemas.microsoft.com/office/drawing/2014/main" id="{FF31BDCC-DE1D-4F1A-BB2E-E410E981E85D}"/>
                </a:ext>
              </a:extLst>
            </p:cNvPr>
            <p:cNvSpPr/>
            <p:nvPr/>
          </p:nvSpPr>
          <p:spPr>
            <a:xfrm>
              <a:off x="6376637" y="3460971"/>
              <a:ext cx="17240" cy="70199"/>
            </a:xfrm>
            <a:custGeom>
              <a:avLst/>
              <a:gdLst>
                <a:gd name="connsiteX0" fmla="*/ 17240 w 17240"/>
                <a:gd name="connsiteY0" fmla="*/ 70199 h 70199"/>
                <a:gd name="connsiteX1" fmla="*/ 17240 w 17240"/>
                <a:gd name="connsiteY1" fmla="*/ 0 h 70199"/>
                <a:gd name="connsiteX2" fmla="*/ 0 w 17240"/>
                <a:gd name="connsiteY2" fmla="*/ 0 h 70199"/>
              </a:gdLst>
              <a:ahLst/>
              <a:cxnLst>
                <a:cxn ang="0">
                  <a:pos x="connsiteX0" y="connsiteY0"/>
                </a:cxn>
                <a:cxn ang="0">
                  <a:pos x="connsiteX1" y="connsiteY1"/>
                </a:cxn>
                <a:cxn ang="0">
                  <a:pos x="connsiteX2" y="connsiteY2"/>
                </a:cxn>
              </a:cxnLst>
              <a:rect l="l" t="t" r="r" b="b"/>
              <a:pathLst>
                <a:path w="17240" h="70199">
                  <a:moveTo>
                    <a:pt x="17240" y="70199"/>
                  </a:moveTo>
                  <a:lnTo>
                    <a:pt x="17240" y="0"/>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00" name="Freeform: Shape 99">
              <a:extLst>
                <a:ext uri="{FF2B5EF4-FFF2-40B4-BE49-F238E27FC236}">
                  <a16:creationId xmlns:a16="http://schemas.microsoft.com/office/drawing/2014/main" id="{5FC26BE7-4434-42C1-B8AB-2B8EF58170DD}"/>
                </a:ext>
              </a:extLst>
            </p:cNvPr>
            <p:cNvSpPr/>
            <p:nvPr/>
          </p:nvSpPr>
          <p:spPr>
            <a:xfrm>
              <a:off x="6377113" y="3533552"/>
              <a:ext cx="33051" cy="9525"/>
            </a:xfrm>
            <a:custGeom>
              <a:avLst/>
              <a:gdLst>
                <a:gd name="connsiteX0" fmla="*/ 0 w 33051"/>
                <a:gd name="connsiteY0" fmla="*/ 0 h 9525"/>
                <a:gd name="connsiteX1" fmla="*/ 33052 w 33051"/>
                <a:gd name="connsiteY1" fmla="*/ 0 h 9525"/>
              </a:gdLst>
              <a:ahLst/>
              <a:cxnLst>
                <a:cxn ang="0">
                  <a:pos x="connsiteX0" y="connsiteY0"/>
                </a:cxn>
                <a:cxn ang="0">
                  <a:pos x="connsiteX1" y="connsiteY1"/>
                </a:cxn>
              </a:cxnLst>
              <a:rect l="l" t="t" r="r" b="b"/>
              <a:pathLst>
                <a:path w="33051" h="9525">
                  <a:moveTo>
                    <a:pt x="0" y="0"/>
                  </a:moveTo>
                  <a:lnTo>
                    <a:pt x="33052"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01" name="Freeform: Shape 100">
              <a:extLst>
                <a:ext uri="{FF2B5EF4-FFF2-40B4-BE49-F238E27FC236}">
                  <a16:creationId xmlns:a16="http://schemas.microsoft.com/office/drawing/2014/main" id="{EB86D8BD-A5B1-4621-B0EF-D445FE8BEE00}"/>
                </a:ext>
              </a:extLst>
            </p:cNvPr>
            <p:cNvSpPr/>
            <p:nvPr/>
          </p:nvSpPr>
          <p:spPr>
            <a:xfrm>
              <a:off x="6149561" y="3623563"/>
              <a:ext cx="31718" cy="7715"/>
            </a:xfrm>
            <a:custGeom>
              <a:avLst/>
              <a:gdLst>
                <a:gd name="connsiteX0" fmla="*/ 0 w 31718"/>
                <a:gd name="connsiteY0" fmla="*/ 0 h 7715"/>
                <a:gd name="connsiteX1" fmla="*/ 16002 w 31718"/>
                <a:gd name="connsiteY1" fmla="*/ 7715 h 7715"/>
                <a:gd name="connsiteX2" fmla="*/ 16002 w 31718"/>
                <a:gd name="connsiteY2" fmla="*/ 7715 h 7715"/>
                <a:gd name="connsiteX3" fmla="*/ 31718 w 31718"/>
                <a:gd name="connsiteY3" fmla="*/ 381 h 7715"/>
              </a:gdLst>
              <a:ahLst/>
              <a:cxnLst>
                <a:cxn ang="0">
                  <a:pos x="connsiteX0" y="connsiteY0"/>
                </a:cxn>
                <a:cxn ang="0">
                  <a:pos x="connsiteX1" y="connsiteY1"/>
                </a:cxn>
                <a:cxn ang="0">
                  <a:pos x="connsiteX2" y="connsiteY2"/>
                </a:cxn>
                <a:cxn ang="0">
                  <a:pos x="connsiteX3" y="connsiteY3"/>
                </a:cxn>
              </a:cxnLst>
              <a:rect l="l" t="t" r="r" b="b"/>
              <a:pathLst>
                <a:path w="31718" h="7715">
                  <a:moveTo>
                    <a:pt x="0" y="0"/>
                  </a:moveTo>
                  <a:cubicBezTo>
                    <a:pt x="3715" y="4667"/>
                    <a:pt x="9525" y="7715"/>
                    <a:pt x="16002" y="7715"/>
                  </a:cubicBezTo>
                  <a:lnTo>
                    <a:pt x="16002" y="7715"/>
                  </a:lnTo>
                  <a:cubicBezTo>
                    <a:pt x="22289" y="7715"/>
                    <a:pt x="27908" y="4858"/>
                    <a:pt x="31718" y="38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02" name="Freeform: Shape 101">
              <a:extLst>
                <a:ext uri="{FF2B5EF4-FFF2-40B4-BE49-F238E27FC236}">
                  <a16:creationId xmlns:a16="http://schemas.microsoft.com/office/drawing/2014/main" id="{B995DA02-C251-4E7D-968D-074B504FFA40}"/>
                </a:ext>
              </a:extLst>
            </p:cNvPr>
            <p:cNvSpPr/>
            <p:nvPr/>
          </p:nvSpPr>
          <p:spPr>
            <a:xfrm>
              <a:off x="6256717" y="3623563"/>
              <a:ext cx="31718" cy="7715"/>
            </a:xfrm>
            <a:custGeom>
              <a:avLst/>
              <a:gdLst>
                <a:gd name="connsiteX0" fmla="*/ 0 w 31718"/>
                <a:gd name="connsiteY0" fmla="*/ 0 h 7715"/>
                <a:gd name="connsiteX1" fmla="*/ 16002 w 31718"/>
                <a:gd name="connsiteY1" fmla="*/ 7715 h 7715"/>
                <a:gd name="connsiteX2" fmla="*/ 16002 w 31718"/>
                <a:gd name="connsiteY2" fmla="*/ 7715 h 7715"/>
                <a:gd name="connsiteX3" fmla="*/ 31718 w 31718"/>
                <a:gd name="connsiteY3" fmla="*/ 381 h 7715"/>
              </a:gdLst>
              <a:ahLst/>
              <a:cxnLst>
                <a:cxn ang="0">
                  <a:pos x="connsiteX0" y="connsiteY0"/>
                </a:cxn>
                <a:cxn ang="0">
                  <a:pos x="connsiteX1" y="connsiteY1"/>
                </a:cxn>
                <a:cxn ang="0">
                  <a:pos x="connsiteX2" y="connsiteY2"/>
                </a:cxn>
                <a:cxn ang="0">
                  <a:pos x="connsiteX3" y="connsiteY3"/>
                </a:cxn>
              </a:cxnLst>
              <a:rect l="l" t="t" r="r" b="b"/>
              <a:pathLst>
                <a:path w="31718" h="7715">
                  <a:moveTo>
                    <a:pt x="0" y="0"/>
                  </a:moveTo>
                  <a:cubicBezTo>
                    <a:pt x="3715" y="4667"/>
                    <a:pt x="9525" y="7715"/>
                    <a:pt x="16002" y="7715"/>
                  </a:cubicBezTo>
                  <a:lnTo>
                    <a:pt x="16002" y="7715"/>
                  </a:lnTo>
                  <a:cubicBezTo>
                    <a:pt x="22288" y="7715"/>
                    <a:pt x="27908" y="4858"/>
                    <a:pt x="31718" y="38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03" name="Freeform: Shape 102">
              <a:extLst>
                <a:ext uri="{FF2B5EF4-FFF2-40B4-BE49-F238E27FC236}">
                  <a16:creationId xmlns:a16="http://schemas.microsoft.com/office/drawing/2014/main" id="{5E3F9705-9772-4245-B9EC-5F195FCBCC76}"/>
                </a:ext>
              </a:extLst>
            </p:cNvPr>
            <p:cNvSpPr/>
            <p:nvPr/>
          </p:nvSpPr>
          <p:spPr>
            <a:xfrm>
              <a:off x="6032879" y="3558603"/>
              <a:ext cx="17240" cy="70199"/>
            </a:xfrm>
            <a:custGeom>
              <a:avLst/>
              <a:gdLst>
                <a:gd name="connsiteX0" fmla="*/ 17240 w 17240"/>
                <a:gd name="connsiteY0" fmla="*/ 70199 h 70199"/>
                <a:gd name="connsiteX1" fmla="*/ 17240 w 17240"/>
                <a:gd name="connsiteY1" fmla="*/ 0 h 70199"/>
                <a:gd name="connsiteX2" fmla="*/ 0 w 17240"/>
                <a:gd name="connsiteY2" fmla="*/ 0 h 70199"/>
              </a:gdLst>
              <a:ahLst/>
              <a:cxnLst>
                <a:cxn ang="0">
                  <a:pos x="connsiteX0" y="connsiteY0"/>
                </a:cxn>
                <a:cxn ang="0">
                  <a:pos x="connsiteX1" y="connsiteY1"/>
                </a:cxn>
                <a:cxn ang="0">
                  <a:pos x="connsiteX2" y="connsiteY2"/>
                </a:cxn>
              </a:cxnLst>
              <a:rect l="l" t="t" r="r" b="b"/>
              <a:pathLst>
                <a:path w="17240" h="70199">
                  <a:moveTo>
                    <a:pt x="17240" y="70199"/>
                  </a:moveTo>
                  <a:lnTo>
                    <a:pt x="17240" y="0"/>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04" name="Freeform: Shape 103">
              <a:extLst>
                <a:ext uri="{FF2B5EF4-FFF2-40B4-BE49-F238E27FC236}">
                  <a16:creationId xmlns:a16="http://schemas.microsoft.com/office/drawing/2014/main" id="{2C537B5C-4AB8-403D-95E3-5DA1631F5F12}"/>
                </a:ext>
              </a:extLst>
            </p:cNvPr>
            <p:cNvSpPr/>
            <p:nvPr/>
          </p:nvSpPr>
          <p:spPr>
            <a:xfrm>
              <a:off x="6033356" y="3631183"/>
              <a:ext cx="33051" cy="9525"/>
            </a:xfrm>
            <a:custGeom>
              <a:avLst/>
              <a:gdLst>
                <a:gd name="connsiteX0" fmla="*/ 0 w 33051"/>
                <a:gd name="connsiteY0" fmla="*/ 0 h 9525"/>
                <a:gd name="connsiteX1" fmla="*/ 33052 w 33051"/>
                <a:gd name="connsiteY1" fmla="*/ 0 h 9525"/>
              </a:gdLst>
              <a:ahLst/>
              <a:cxnLst>
                <a:cxn ang="0">
                  <a:pos x="connsiteX0" y="connsiteY0"/>
                </a:cxn>
                <a:cxn ang="0">
                  <a:pos x="connsiteX1" y="connsiteY1"/>
                </a:cxn>
              </a:cxnLst>
              <a:rect l="l" t="t" r="r" b="b"/>
              <a:pathLst>
                <a:path w="33051" h="9525">
                  <a:moveTo>
                    <a:pt x="0" y="0"/>
                  </a:moveTo>
                  <a:lnTo>
                    <a:pt x="33052"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05" name="Freeform: Shape 104">
              <a:extLst>
                <a:ext uri="{FF2B5EF4-FFF2-40B4-BE49-F238E27FC236}">
                  <a16:creationId xmlns:a16="http://schemas.microsoft.com/office/drawing/2014/main" id="{3D442DC4-0489-4A23-9BB3-BC530724FD87}"/>
                </a:ext>
              </a:extLst>
            </p:cNvPr>
            <p:cNvSpPr/>
            <p:nvPr/>
          </p:nvSpPr>
          <p:spPr>
            <a:xfrm>
              <a:off x="6223380" y="3622325"/>
              <a:ext cx="9525" cy="6476"/>
            </a:xfrm>
            <a:custGeom>
              <a:avLst/>
              <a:gdLst>
                <a:gd name="connsiteX0" fmla="*/ 0 w 9525"/>
                <a:gd name="connsiteY0" fmla="*/ 0 h 6476"/>
                <a:gd name="connsiteX1" fmla="*/ 0 w 9525"/>
                <a:gd name="connsiteY1" fmla="*/ 6477 h 6476"/>
              </a:gdLst>
              <a:ahLst/>
              <a:cxnLst>
                <a:cxn ang="0">
                  <a:pos x="connsiteX0" y="connsiteY0"/>
                </a:cxn>
                <a:cxn ang="0">
                  <a:pos x="connsiteX1" y="connsiteY1"/>
                </a:cxn>
              </a:cxnLst>
              <a:rect l="l" t="t" r="r" b="b"/>
              <a:pathLst>
                <a:path w="9525" h="6476">
                  <a:moveTo>
                    <a:pt x="0" y="0"/>
                  </a:moveTo>
                  <a:lnTo>
                    <a:pt x="0" y="6477"/>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06" name="Freeform: Shape 105">
              <a:extLst>
                <a:ext uri="{FF2B5EF4-FFF2-40B4-BE49-F238E27FC236}">
                  <a16:creationId xmlns:a16="http://schemas.microsoft.com/office/drawing/2014/main" id="{6D63B30F-C4AD-4C91-8FB8-BE6E2B7C6592}"/>
                </a:ext>
              </a:extLst>
            </p:cNvPr>
            <p:cNvSpPr/>
            <p:nvPr/>
          </p:nvSpPr>
          <p:spPr>
            <a:xfrm>
              <a:off x="6206616" y="3631183"/>
              <a:ext cx="33051" cy="9525"/>
            </a:xfrm>
            <a:custGeom>
              <a:avLst/>
              <a:gdLst>
                <a:gd name="connsiteX0" fmla="*/ 0 w 33051"/>
                <a:gd name="connsiteY0" fmla="*/ 0 h 9525"/>
                <a:gd name="connsiteX1" fmla="*/ 33052 w 33051"/>
                <a:gd name="connsiteY1" fmla="*/ 0 h 9525"/>
              </a:gdLst>
              <a:ahLst/>
              <a:cxnLst>
                <a:cxn ang="0">
                  <a:pos x="connsiteX0" y="connsiteY0"/>
                </a:cxn>
                <a:cxn ang="0">
                  <a:pos x="connsiteX1" y="connsiteY1"/>
                </a:cxn>
              </a:cxnLst>
              <a:rect l="l" t="t" r="r" b="b"/>
              <a:pathLst>
                <a:path w="33051" h="9525">
                  <a:moveTo>
                    <a:pt x="0" y="0"/>
                  </a:moveTo>
                  <a:lnTo>
                    <a:pt x="33052"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07" name="Freeform: Shape 106">
              <a:extLst>
                <a:ext uri="{FF2B5EF4-FFF2-40B4-BE49-F238E27FC236}">
                  <a16:creationId xmlns:a16="http://schemas.microsoft.com/office/drawing/2014/main" id="{B3209DD9-C478-4610-BA38-412FD7FC0F7E}"/>
                </a:ext>
              </a:extLst>
            </p:cNvPr>
            <p:cNvSpPr/>
            <p:nvPr/>
          </p:nvSpPr>
          <p:spPr>
            <a:xfrm>
              <a:off x="6086315" y="3558603"/>
              <a:ext cx="17240" cy="70199"/>
            </a:xfrm>
            <a:custGeom>
              <a:avLst/>
              <a:gdLst>
                <a:gd name="connsiteX0" fmla="*/ 17240 w 17240"/>
                <a:gd name="connsiteY0" fmla="*/ 70199 h 70199"/>
                <a:gd name="connsiteX1" fmla="*/ 17240 w 17240"/>
                <a:gd name="connsiteY1" fmla="*/ 0 h 70199"/>
                <a:gd name="connsiteX2" fmla="*/ 0 w 17240"/>
                <a:gd name="connsiteY2" fmla="*/ 0 h 70199"/>
              </a:gdLst>
              <a:ahLst/>
              <a:cxnLst>
                <a:cxn ang="0">
                  <a:pos x="connsiteX0" y="connsiteY0"/>
                </a:cxn>
                <a:cxn ang="0">
                  <a:pos x="connsiteX1" y="connsiteY1"/>
                </a:cxn>
                <a:cxn ang="0">
                  <a:pos x="connsiteX2" y="connsiteY2"/>
                </a:cxn>
              </a:cxnLst>
              <a:rect l="l" t="t" r="r" b="b"/>
              <a:pathLst>
                <a:path w="17240" h="70199">
                  <a:moveTo>
                    <a:pt x="17240" y="70199"/>
                  </a:moveTo>
                  <a:lnTo>
                    <a:pt x="17240" y="0"/>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08" name="Freeform: Shape 107">
              <a:extLst>
                <a:ext uri="{FF2B5EF4-FFF2-40B4-BE49-F238E27FC236}">
                  <a16:creationId xmlns:a16="http://schemas.microsoft.com/office/drawing/2014/main" id="{1F00F227-CA3E-4259-9C65-0F675B23825F}"/>
                </a:ext>
              </a:extLst>
            </p:cNvPr>
            <p:cNvSpPr/>
            <p:nvPr/>
          </p:nvSpPr>
          <p:spPr>
            <a:xfrm>
              <a:off x="6086791" y="3631183"/>
              <a:ext cx="33051" cy="9525"/>
            </a:xfrm>
            <a:custGeom>
              <a:avLst/>
              <a:gdLst>
                <a:gd name="connsiteX0" fmla="*/ 0 w 33051"/>
                <a:gd name="connsiteY0" fmla="*/ 0 h 9525"/>
                <a:gd name="connsiteX1" fmla="*/ 33052 w 33051"/>
                <a:gd name="connsiteY1" fmla="*/ 0 h 9525"/>
              </a:gdLst>
              <a:ahLst/>
              <a:cxnLst>
                <a:cxn ang="0">
                  <a:pos x="connsiteX0" y="connsiteY0"/>
                </a:cxn>
                <a:cxn ang="0">
                  <a:pos x="connsiteX1" y="connsiteY1"/>
                </a:cxn>
              </a:cxnLst>
              <a:rect l="l" t="t" r="r" b="b"/>
              <a:pathLst>
                <a:path w="33051" h="9525">
                  <a:moveTo>
                    <a:pt x="0" y="0"/>
                  </a:moveTo>
                  <a:lnTo>
                    <a:pt x="33052"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09" name="Freeform: Shape 108">
              <a:extLst>
                <a:ext uri="{FF2B5EF4-FFF2-40B4-BE49-F238E27FC236}">
                  <a16:creationId xmlns:a16="http://schemas.microsoft.com/office/drawing/2014/main" id="{A1515426-FD8E-40A1-9EFF-2680CD6D91A3}"/>
                </a:ext>
              </a:extLst>
            </p:cNvPr>
            <p:cNvSpPr/>
            <p:nvPr/>
          </p:nvSpPr>
          <p:spPr>
            <a:xfrm>
              <a:off x="6367969" y="3558031"/>
              <a:ext cx="40957" cy="73152"/>
            </a:xfrm>
            <a:custGeom>
              <a:avLst/>
              <a:gdLst>
                <a:gd name="connsiteX0" fmla="*/ 40957 w 40957"/>
                <a:gd name="connsiteY0" fmla="*/ 52673 h 73152"/>
                <a:gd name="connsiteX1" fmla="*/ 40957 w 40957"/>
                <a:gd name="connsiteY1" fmla="*/ 20479 h 73152"/>
                <a:gd name="connsiteX2" fmla="*/ 20479 w 40957"/>
                <a:gd name="connsiteY2" fmla="*/ 0 h 73152"/>
                <a:gd name="connsiteX3" fmla="*/ 20479 w 40957"/>
                <a:gd name="connsiteY3" fmla="*/ 0 h 73152"/>
                <a:gd name="connsiteX4" fmla="*/ 0 w 40957"/>
                <a:gd name="connsiteY4" fmla="*/ 20479 h 73152"/>
                <a:gd name="connsiteX5" fmla="*/ 0 w 40957"/>
                <a:gd name="connsiteY5" fmla="*/ 52673 h 73152"/>
                <a:gd name="connsiteX6" fmla="*/ 20479 w 40957"/>
                <a:gd name="connsiteY6" fmla="*/ 73152 h 73152"/>
                <a:gd name="connsiteX7" fmla="*/ 20479 w 40957"/>
                <a:gd name="connsiteY7" fmla="*/ 73152 h 73152"/>
                <a:gd name="connsiteX8" fmla="*/ 40957 w 40957"/>
                <a:gd name="connsiteY8" fmla="*/ 52673 h 73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 h="73152">
                  <a:moveTo>
                    <a:pt x="40957" y="52673"/>
                  </a:moveTo>
                  <a:lnTo>
                    <a:pt x="40957" y="20479"/>
                  </a:lnTo>
                  <a:cubicBezTo>
                    <a:pt x="40957" y="9144"/>
                    <a:pt x="31814" y="0"/>
                    <a:pt x="20479" y="0"/>
                  </a:cubicBezTo>
                  <a:lnTo>
                    <a:pt x="20479" y="0"/>
                  </a:lnTo>
                  <a:cubicBezTo>
                    <a:pt x="9144" y="0"/>
                    <a:pt x="0" y="9144"/>
                    <a:pt x="0" y="20479"/>
                  </a:cubicBezTo>
                  <a:lnTo>
                    <a:pt x="0" y="52673"/>
                  </a:lnTo>
                  <a:cubicBezTo>
                    <a:pt x="0" y="64008"/>
                    <a:pt x="9144" y="73152"/>
                    <a:pt x="20479" y="73152"/>
                  </a:cubicBezTo>
                  <a:lnTo>
                    <a:pt x="20479" y="73152"/>
                  </a:lnTo>
                  <a:cubicBezTo>
                    <a:pt x="31718" y="73152"/>
                    <a:pt x="40957" y="64008"/>
                    <a:pt x="40957" y="52673"/>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10" name="Freeform: Shape 109">
              <a:extLst>
                <a:ext uri="{FF2B5EF4-FFF2-40B4-BE49-F238E27FC236}">
                  <a16:creationId xmlns:a16="http://schemas.microsoft.com/office/drawing/2014/main" id="{E4459B4D-D650-4056-AB7F-E6CCC4F9F049}"/>
                </a:ext>
              </a:extLst>
            </p:cNvPr>
            <p:cNvSpPr/>
            <p:nvPr/>
          </p:nvSpPr>
          <p:spPr>
            <a:xfrm>
              <a:off x="6320058" y="3558603"/>
              <a:ext cx="11048" cy="70199"/>
            </a:xfrm>
            <a:custGeom>
              <a:avLst/>
              <a:gdLst>
                <a:gd name="connsiteX0" fmla="*/ 11049 w 11048"/>
                <a:gd name="connsiteY0" fmla="*/ 70199 h 70199"/>
                <a:gd name="connsiteX1" fmla="*/ 11049 w 11048"/>
                <a:gd name="connsiteY1" fmla="*/ 0 h 70199"/>
                <a:gd name="connsiteX2" fmla="*/ 0 w 11048"/>
                <a:gd name="connsiteY2" fmla="*/ 0 h 70199"/>
              </a:gdLst>
              <a:ahLst/>
              <a:cxnLst>
                <a:cxn ang="0">
                  <a:pos x="connsiteX0" y="connsiteY0"/>
                </a:cxn>
                <a:cxn ang="0">
                  <a:pos x="connsiteX1" y="connsiteY1"/>
                </a:cxn>
                <a:cxn ang="0">
                  <a:pos x="connsiteX2" y="connsiteY2"/>
                </a:cxn>
              </a:cxnLst>
              <a:rect l="l" t="t" r="r" b="b"/>
              <a:pathLst>
                <a:path w="11048" h="70199">
                  <a:moveTo>
                    <a:pt x="11049" y="70199"/>
                  </a:moveTo>
                  <a:lnTo>
                    <a:pt x="11049" y="0"/>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11" name="Freeform: Shape 110">
              <a:extLst>
                <a:ext uri="{FF2B5EF4-FFF2-40B4-BE49-F238E27FC236}">
                  <a16:creationId xmlns:a16="http://schemas.microsoft.com/office/drawing/2014/main" id="{C2F3A9AB-F378-4020-B463-3BB17B4CA06E}"/>
                </a:ext>
              </a:extLst>
            </p:cNvPr>
            <p:cNvSpPr/>
            <p:nvPr/>
          </p:nvSpPr>
          <p:spPr>
            <a:xfrm>
              <a:off x="6314343" y="3631183"/>
              <a:ext cx="33051" cy="9525"/>
            </a:xfrm>
            <a:custGeom>
              <a:avLst/>
              <a:gdLst>
                <a:gd name="connsiteX0" fmla="*/ 0 w 33051"/>
                <a:gd name="connsiteY0" fmla="*/ 0 h 9525"/>
                <a:gd name="connsiteX1" fmla="*/ 33052 w 33051"/>
                <a:gd name="connsiteY1" fmla="*/ 0 h 9525"/>
              </a:gdLst>
              <a:ahLst/>
              <a:cxnLst>
                <a:cxn ang="0">
                  <a:pos x="connsiteX0" y="connsiteY0"/>
                </a:cxn>
                <a:cxn ang="0">
                  <a:pos x="connsiteX1" y="connsiteY1"/>
                </a:cxn>
              </a:cxnLst>
              <a:rect l="l" t="t" r="r" b="b"/>
              <a:pathLst>
                <a:path w="33051" h="9525">
                  <a:moveTo>
                    <a:pt x="0" y="0"/>
                  </a:moveTo>
                  <a:lnTo>
                    <a:pt x="33052"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grpSp>
          <p:nvGrpSpPr>
            <p:cNvPr id="112" name="Graphic 13">
              <a:extLst>
                <a:ext uri="{FF2B5EF4-FFF2-40B4-BE49-F238E27FC236}">
                  <a16:creationId xmlns:a16="http://schemas.microsoft.com/office/drawing/2014/main" id="{67BBDDD0-6FD3-45CF-BB74-DDCD0B4DEE7E}"/>
                </a:ext>
              </a:extLst>
            </p:cNvPr>
            <p:cNvGrpSpPr/>
            <p:nvPr/>
          </p:nvGrpSpPr>
          <p:grpSpPr>
            <a:xfrm>
              <a:off x="6132416" y="3381342"/>
              <a:ext cx="170688" cy="230219"/>
              <a:chOff x="6132416" y="3381342"/>
              <a:chExt cx="170688" cy="230219"/>
            </a:xfrm>
            <a:noFill/>
          </p:grpSpPr>
          <p:sp>
            <p:nvSpPr>
              <p:cNvPr id="113" name="Freeform: Shape 112">
                <a:extLst>
                  <a:ext uri="{FF2B5EF4-FFF2-40B4-BE49-F238E27FC236}">
                    <a16:creationId xmlns:a16="http://schemas.microsoft.com/office/drawing/2014/main" id="{9B33BD57-2C60-4B57-9C30-5A8DD029BAA7}"/>
                  </a:ext>
                </a:extLst>
              </p:cNvPr>
              <p:cNvSpPr/>
              <p:nvPr/>
            </p:nvSpPr>
            <p:spPr>
              <a:xfrm>
                <a:off x="6132416" y="3478116"/>
                <a:ext cx="170688" cy="133445"/>
              </a:xfrm>
              <a:custGeom>
                <a:avLst/>
                <a:gdLst>
                  <a:gd name="connsiteX0" fmla="*/ 170688 w 170688"/>
                  <a:gd name="connsiteY0" fmla="*/ 0 h 133445"/>
                  <a:gd name="connsiteX1" fmla="*/ 170688 w 170688"/>
                  <a:gd name="connsiteY1" fmla="*/ 0 h 133445"/>
                  <a:gd name="connsiteX2" fmla="*/ 170688 w 170688"/>
                  <a:gd name="connsiteY2" fmla="*/ 133445 h 133445"/>
                  <a:gd name="connsiteX3" fmla="*/ 0 w 170688"/>
                  <a:gd name="connsiteY3" fmla="*/ 133445 h 133445"/>
                  <a:gd name="connsiteX4" fmla="*/ 0 w 170688"/>
                  <a:gd name="connsiteY4" fmla="*/ 0 h 133445"/>
                  <a:gd name="connsiteX5" fmla="*/ 170688 w 170688"/>
                  <a:gd name="connsiteY5" fmla="*/ 0 h 133445"/>
                  <a:gd name="connsiteX6" fmla="*/ 170688 w 170688"/>
                  <a:gd name="connsiteY6" fmla="*/ 0 h 13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688" h="133445">
                    <a:moveTo>
                      <a:pt x="170688" y="0"/>
                    </a:moveTo>
                    <a:lnTo>
                      <a:pt x="170688" y="0"/>
                    </a:lnTo>
                    <a:lnTo>
                      <a:pt x="170688" y="133445"/>
                    </a:lnTo>
                    <a:cubicBezTo>
                      <a:pt x="170688" y="133445"/>
                      <a:pt x="170688" y="133445"/>
                      <a:pt x="0" y="133445"/>
                    </a:cubicBezTo>
                    <a:cubicBezTo>
                      <a:pt x="0" y="133445"/>
                      <a:pt x="0" y="133445"/>
                      <a:pt x="0" y="0"/>
                    </a:cubicBezTo>
                    <a:cubicBezTo>
                      <a:pt x="95" y="0"/>
                      <a:pt x="95" y="0"/>
                      <a:pt x="170688" y="0"/>
                    </a:cubicBezTo>
                    <a:lnTo>
                      <a:pt x="170688" y="0"/>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14" name="Freeform: Shape 113">
                <a:extLst>
                  <a:ext uri="{FF2B5EF4-FFF2-40B4-BE49-F238E27FC236}">
                    <a16:creationId xmlns:a16="http://schemas.microsoft.com/office/drawing/2014/main" id="{F7D27AA5-8AF3-4746-9120-1F72F2C22CE4}"/>
                  </a:ext>
                </a:extLst>
              </p:cNvPr>
              <p:cNvSpPr/>
              <p:nvPr/>
            </p:nvSpPr>
            <p:spPr>
              <a:xfrm>
                <a:off x="6171087" y="3381342"/>
                <a:ext cx="95059" cy="96107"/>
              </a:xfrm>
              <a:custGeom>
                <a:avLst/>
                <a:gdLst>
                  <a:gd name="connsiteX0" fmla="*/ 0 w 95059"/>
                  <a:gd name="connsiteY0" fmla="*/ 96107 h 96107"/>
                  <a:gd name="connsiteX1" fmla="*/ 0 w 95059"/>
                  <a:gd name="connsiteY1" fmla="*/ 46958 h 96107"/>
                  <a:gd name="connsiteX2" fmla="*/ 47530 w 95059"/>
                  <a:gd name="connsiteY2" fmla="*/ 0 h 96107"/>
                  <a:gd name="connsiteX3" fmla="*/ 95060 w 95059"/>
                  <a:gd name="connsiteY3" fmla="*/ 46958 h 96107"/>
                  <a:gd name="connsiteX4" fmla="*/ 95060 w 95059"/>
                  <a:gd name="connsiteY4" fmla="*/ 96107 h 96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 h="96107">
                    <a:moveTo>
                      <a:pt x="0" y="96107"/>
                    </a:moveTo>
                    <a:cubicBezTo>
                      <a:pt x="0" y="96107"/>
                      <a:pt x="0" y="96774"/>
                      <a:pt x="0" y="46958"/>
                    </a:cubicBezTo>
                    <a:cubicBezTo>
                      <a:pt x="0" y="20574"/>
                      <a:pt x="20764" y="0"/>
                      <a:pt x="47530" y="0"/>
                    </a:cubicBezTo>
                    <a:cubicBezTo>
                      <a:pt x="72771" y="0"/>
                      <a:pt x="95060" y="20574"/>
                      <a:pt x="95060" y="46958"/>
                    </a:cubicBezTo>
                    <a:cubicBezTo>
                      <a:pt x="95060" y="46958"/>
                      <a:pt x="95060" y="46292"/>
                      <a:pt x="95060" y="96107"/>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15" name="Freeform: Shape 114">
                <a:extLst>
                  <a:ext uri="{FF2B5EF4-FFF2-40B4-BE49-F238E27FC236}">
                    <a16:creationId xmlns:a16="http://schemas.microsoft.com/office/drawing/2014/main" id="{53C41066-F8B8-4AFE-B7AC-74BA7349171D}"/>
                  </a:ext>
                </a:extLst>
              </p:cNvPr>
              <p:cNvSpPr/>
              <p:nvPr/>
            </p:nvSpPr>
            <p:spPr>
              <a:xfrm>
                <a:off x="6203567" y="3515073"/>
                <a:ext cx="31051" cy="31051"/>
              </a:xfrm>
              <a:custGeom>
                <a:avLst/>
                <a:gdLst>
                  <a:gd name="connsiteX0" fmla="*/ 31052 w 31051"/>
                  <a:gd name="connsiteY0" fmla="*/ 15526 h 31051"/>
                  <a:gd name="connsiteX1" fmla="*/ 31052 w 31051"/>
                  <a:gd name="connsiteY1" fmla="*/ 15526 h 31051"/>
                  <a:gd name="connsiteX2" fmla="*/ 15526 w 31051"/>
                  <a:gd name="connsiteY2" fmla="*/ 0 h 31051"/>
                  <a:gd name="connsiteX3" fmla="*/ 15526 w 31051"/>
                  <a:gd name="connsiteY3" fmla="*/ 0 h 31051"/>
                  <a:gd name="connsiteX4" fmla="*/ 0 w 31051"/>
                  <a:gd name="connsiteY4" fmla="*/ 15526 h 31051"/>
                  <a:gd name="connsiteX5" fmla="*/ 0 w 31051"/>
                  <a:gd name="connsiteY5" fmla="*/ 15526 h 31051"/>
                  <a:gd name="connsiteX6" fmla="*/ 15526 w 31051"/>
                  <a:gd name="connsiteY6" fmla="*/ 31051 h 31051"/>
                  <a:gd name="connsiteX7" fmla="*/ 15526 w 31051"/>
                  <a:gd name="connsiteY7" fmla="*/ 31051 h 31051"/>
                  <a:gd name="connsiteX8" fmla="*/ 31052 w 31051"/>
                  <a:gd name="connsiteY8" fmla="*/ 15526 h 31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051" h="31051">
                    <a:moveTo>
                      <a:pt x="31052" y="15526"/>
                    </a:moveTo>
                    <a:lnTo>
                      <a:pt x="31052" y="15526"/>
                    </a:lnTo>
                    <a:cubicBezTo>
                      <a:pt x="31052" y="7049"/>
                      <a:pt x="24098" y="0"/>
                      <a:pt x="15526" y="0"/>
                    </a:cubicBezTo>
                    <a:lnTo>
                      <a:pt x="15526" y="0"/>
                    </a:lnTo>
                    <a:cubicBezTo>
                      <a:pt x="7049" y="0"/>
                      <a:pt x="0" y="6953"/>
                      <a:pt x="0" y="15526"/>
                    </a:cubicBezTo>
                    <a:lnTo>
                      <a:pt x="0" y="15526"/>
                    </a:lnTo>
                    <a:cubicBezTo>
                      <a:pt x="0" y="24003"/>
                      <a:pt x="6953" y="31051"/>
                      <a:pt x="15526" y="31051"/>
                    </a:cubicBezTo>
                    <a:lnTo>
                      <a:pt x="15526" y="31051"/>
                    </a:lnTo>
                    <a:cubicBezTo>
                      <a:pt x="24003" y="31051"/>
                      <a:pt x="31052" y="24098"/>
                      <a:pt x="31052" y="15526"/>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16" name="Freeform: Shape 115">
                <a:extLst>
                  <a:ext uri="{FF2B5EF4-FFF2-40B4-BE49-F238E27FC236}">
                    <a16:creationId xmlns:a16="http://schemas.microsoft.com/office/drawing/2014/main" id="{60F862C4-0364-42C7-92B8-1F5BC2333567}"/>
                  </a:ext>
                </a:extLst>
              </p:cNvPr>
              <p:cNvSpPr/>
              <p:nvPr/>
            </p:nvSpPr>
            <p:spPr>
              <a:xfrm>
                <a:off x="6211188" y="3545839"/>
                <a:ext cx="15811" cy="38385"/>
              </a:xfrm>
              <a:custGeom>
                <a:avLst/>
                <a:gdLst>
                  <a:gd name="connsiteX0" fmla="*/ 0 w 15811"/>
                  <a:gd name="connsiteY0" fmla="*/ 0 h 38385"/>
                  <a:gd name="connsiteX1" fmla="*/ 0 w 15811"/>
                  <a:gd name="connsiteY1" fmla="*/ 30670 h 38385"/>
                  <a:gd name="connsiteX2" fmla="*/ 7906 w 15811"/>
                  <a:gd name="connsiteY2" fmla="*/ 38386 h 38385"/>
                  <a:gd name="connsiteX3" fmla="*/ 7906 w 15811"/>
                  <a:gd name="connsiteY3" fmla="*/ 38386 h 38385"/>
                  <a:gd name="connsiteX4" fmla="*/ 15811 w 15811"/>
                  <a:gd name="connsiteY4" fmla="*/ 30670 h 38385"/>
                  <a:gd name="connsiteX5" fmla="*/ 15811 w 15811"/>
                  <a:gd name="connsiteY5" fmla="*/ 0 h 38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11" h="38385">
                    <a:moveTo>
                      <a:pt x="0" y="0"/>
                    </a:moveTo>
                    <a:lnTo>
                      <a:pt x="0" y="30670"/>
                    </a:lnTo>
                    <a:cubicBezTo>
                      <a:pt x="0" y="34957"/>
                      <a:pt x="3524" y="38386"/>
                      <a:pt x="7906" y="38386"/>
                    </a:cubicBezTo>
                    <a:lnTo>
                      <a:pt x="7906" y="38386"/>
                    </a:lnTo>
                    <a:cubicBezTo>
                      <a:pt x="12287" y="38386"/>
                      <a:pt x="15811" y="34862"/>
                      <a:pt x="15811" y="30670"/>
                    </a:cubicBezTo>
                    <a:lnTo>
                      <a:pt x="15811"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grpSp>
      </p:grpSp>
      <p:grpSp>
        <p:nvGrpSpPr>
          <p:cNvPr id="119" name="Group 118">
            <a:extLst>
              <a:ext uri="{FF2B5EF4-FFF2-40B4-BE49-F238E27FC236}">
                <a16:creationId xmlns:a16="http://schemas.microsoft.com/office/drawing/2014/main" id="{24884191-9ED0-4633-8C51-C0B89CCF6D21}"/>
              </a:ext>
            </a:extLst>
          </p:cNvPr>
          <p:cNvGrpSpPr/>
          <p:nvPr/>
        </p:nvGrpSpPr>
        <p:grpSpPr>
          <a:xfrm>
            <a:off x="3473504" y="3468546"/>
            <a:ext cx="541037" cy="424934"/>
            <a:chOff x="2013595" y="4071821"/>
            <a:chExt cx="410033" cy="322045"/>
          </a:xfrm>
        </p:grpSpPr>
        <p:sp>
          <p:nvSpPr>
            <p:cNvPr id="120" name="Freeform: Shape 119">
              <a:extLst>
                <a:ext uri="{FF2B5EF4-FFF2-40B4-BE49-F238E27FC236}">
                  <a16:creationId xmlns:a16="http://schemas.microsoft.com/office/drawing/2014/main" id="{299ECBAE-0C20-4A83-A093-07E8906989E9}"/>
                </a:ext>
              </a:extLst>
            </p:cNvPr>
            <p:cNvSpPr/>
            <p:nvPr/>
          </p:nvSpPr>
          <p:spPr>
            <a:xfrm rot="3600000">
              <a:off x="2066276" y="4119556"/>
              <a:ext cx="221629" cy="326992"/>
            </a:xfrm>
            <a:custGeom>
              <a:avLst/>
              <a:gdLst>
                <a:gd name="connsiteX0" fmla="*/ 0 w 221629"/>
                <a:gd name="connsiteY0" fmla="*/ 282959 h 326992"/>
                <a:gd name="connsiteX1" fmla="*/ 149717 w 221629"/>
                <a:gd name="connsiteY1" fmla="*/ 282959 h 326992"/>
                <a:gd name="connsiteX2" fmla="*/ 149717 w 221629"/>
                <a:gd name="connsiteY2" fmla="*/ 326992 h 326992"/>
                <a:gd name="connsiteX3" fmla="*/ 0 w 221629"/>
                <a:gd name="connsiteY3" fmla="*/ 326992 h 326992"/>
                <a:gd name="connsiteX4" fmla="*/ 208419 w 221629"/>
                <a:gd name="connsiteY4" fmla="*/ 486 h 326992"/>
                <a:gd name="connsiteX5" fmla="*/ 221629 w 221629"/>
                <a:gd name="connsiteY5" fmla="*/ 20301 h 326992"/>
                <a:gd name="connsiteX6" fmla="*/ 221629 w 221629"/>
                <a:gd name="connsiteY6" fmla="*/ 83050 h 326992"/>
                <a:gd name="connsiteX7" fmla="*/ 221629 w 221629"/>
                <a:gd name="connsiteY7" fmla="*/ 139193 h 326992"/>
                <a:gd name="connsiteX8" fmla="*/ 209519 w 221629"/>
                <a:gd name="connsiteY8" fmla="*/ 177723 h 326992"/>
                <a:gd name="connsiteX9" fmla="*/ 129158 w 221629"/>
                <a:gd name="connsiteY9" fmla="*/ 282303 h 326992"/>
                <a:gd name="connsiteX10" fmla="*/ 17971 w 221629"/>
                <a:gd name="connsiteY10" fmla="*/ 280101 h 326992"/>
                <a:gd name="connsiteX11" fmla="*/ 17971 w 221629"/>
                <a:gd name="connsiteY11" fmla="*/ 210749 h 326992"/>
                <a:gd name="connsiteX12" fmla="*/ 35584 w 221629"/>
                <a:gd name="connsiteY12" fmla="*/ 164513 h 326992"/>
                <a:gd name="connsiteX13" fmla="*/ 115947 w 221629"/>
                <a:gd name="connsiteY13" fmla="*/ 83050 h 326992"/>
                <a:gd name="connsiteX14" fmla="*/ 141266 w 221629"/>
                <a:gd name="connsiteY14" fmla="*/ 79747 h 326992"/>
                <a:gd name="connsiteX15" fmla="*/ 144570 w 221629"/>
                <a:gd name="connsiteY15" fmla="*/ 118277 h 326992"/>
                <a:gd name="connsiteX16" fmla="*/ 96132 w 221629"/>
                <a:gd name="connsiteY16" fmla="*/ 167815 h 326992"/>
                <a:gd name="connsiteX17" fmla="*/ 95030 w 221629"/>
                <a:gd name="connsiteY17" fmla="*/ 187630 h 326992"/>
                <a:gd name="connsiteX18" fmla="*/ 114846 w 221629"/>
                <a:gd name="connsiteY18" fmla="*/ 188732 h 326992"/>
                <a:gd name="connsiteX19" fmla="*/ 169889 w 221629"/>
                <a:gd name="connsiteY19" fmla="*/ 133689 h 326992"/>
                <a:gd name="connsiteX20" fmla="*/ 170990 w 221629"/>
                <a:gd name="connsiteY20" fmla="*/ 131488 h 326992"/>
                <a:gd name="connsiteX21" fmla="*/ 180897 w 221629"/>
                <a:gd name="connsiteY21" fmla="*/ 98462 h 326992"/>
                <a:gd name="connsiteX22" fmla="*/ 184200 w 221629"/>
                <a:gd name="connsiteY22" fmla="*/ 37915 h 326992"/>
                <a:gd name="connsiteX23" fmla="*/ 186402 w 221629"/>
                <a:gd name="connsiteY23" fmla="*/ 12596 h 326992"/>
                <a:gd name="connsiteX24" fmla="*/ 208419 w 221629"/>
                <a:gd name="connsiteY24" fmla="*/ 486 h 32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1629" h="326992">
                  <a:moveTo>
                    <a:pt x="0" y="282959"/>
                  </a:moveTo>
                  <a:lnTo>
                    <a:pt x="149717" y="282959"/>
                  </a:lnTo>
                  <a:lnTo>
                    <a:pt x="149717" y="326992"/>
                  </a:lnTo>
                  <a:lnTo>
                    <a:pt x="0" y="326992"/>
                  </a:lnTo>
                  <a:close/>
                  <a:moveTo>
                    <a:pt x="208419" y="486"/>
                  </a:moveTo>
                  <a:cubicBezTo>
                    <a:pt x="216125" y="1587"/>
                    <a:pt x="221629" y="10394"/>
                    <a:pt x="221629" y="20301"/>
                  </a:cubicBezTo>
                  <a:cubicBezTo>
                    <a:pt x="221629" y="41218"/>
                    <a:pt x="221629" y="62133"/>
                    <a:pt x="221629" y="83050"/>
                  </a:cubicBezTo>
                  <a:cubicBezTo>
                    <a:pt x="221629" y="101764"/>
                    <a:pt x="221629" y="120479"/>
                    <a:pt x="221629" y="139193"/>
                  </a:cubicBezTo>
                  <a:cubicBezTo>
                    <a:pt x="221629" y="153505"/>
                    <a:pt x="218326" y="165613"/>
                    <a:pt x="209519" y="177723"/>
                  </a:cubicBezTo>
                  <a:cubicBezTo>
                    <a:pt x="189704" y="201942"/>
                    <a:pt x="129158" y="282303"/>
                    <a:pt x="129158" y="282303"/>
                  </a:cubicBezTo>
                  <a:lnTo>
                    <a:pt x="17971" y="280101"/>
                  </a:lnTo>
                  <a:cubicBezTo>
                    <a:pt x="17971" y="280101"/>
                    <a:pt x="17971" y="231664"/>
                    <a:pt x="17971" y="210749"/>
                  </a:cubicBezTo>
                  <a:cubicBezTo>
                    <a:pt x="17971" y="192034"/>
                    <a:pt x="24576" y="176622"/>
                    <a:pt x="35584" y="164513"/>
                  </a:cubicBezTo>
                  <a:cubicBezTo>
                    <a:pt x="62005" y="136991"/>
                    <a:pt x="88425" y="109471"/>
                    <a:pt x="115947" y="83050"/>
                  </a:cubicBezTo>
                  <a:cubicBezTo>
                    <a:pt x="122552" y="76445"/>
                    <a:pt x="134661" y="75344"/>
                    <a:pt x="141266" y="79747"/>
                  </a:cubicBezTo>
                  <a:cubicBezTo>
                    <a:pt x="155578" y="89655"/>
                    <a:pt x="154477" y="107269"/>
                    <a:pt x="144570" y="118277"/>
                  </a:cubicBezTo>
                  <a:cubicBezTo>
                    <a:pt x="128056" y="134790"/>
                    <a:pt x="111544" y="151303"/>
                    <a:pt x="96132" y="167815"/>
                  </a:cubicBezTo>
                  <a:cubicBezTo>
                    <a:pt x="89527" y="174420"/>
                    <a:pt x="89527" y="182127"/>
                    <a:pt x="95030" y="187630"/>
                  </a:cubicBezTo>
                  <a:cubicBezTo>
                    <a:pt x="99434" y="192034"/>
                    <a:pt x="110442" y="193135"/>
                    <a:pt x="114846" y="188732"/>
                  </a:cubicBezTo>
                  <a:cubicBezTo>
                    <a:pt x="133561" y="170017"/>
                    <a:pt x="151175" y="151303"/>
                    <a:pt x="169889" y="133689"/>
                  </a:cubicBezTo>
                  <a:cubicBezTo>
                    <a:pt x="170990" y="132588"/>
                    <a:pt x="170990" y="132588"/>
                    <a:pt x="170990" y="131488"/>
                  </a:cubicBezTo>
                  <a:cubicBezTo>
                    <a:pt x="177595" y="121579"/>
                    <a:pt x="180897" y="110571"/>
                    <a:pt x="180897" y="98462"/>
                  </a:cubicBezTo>
                  <a:cubicBezTo>
                    <a:pt x="180897" y="78647"/>
                    <a:pt x="183099" y="57730"/>
                    <a:pt x="184200" y="37915"/>
                  </a:cubicBezTo>
                  <a:cubicBezTo>
                    <a:pt x="185301" y="29108"/>
                    <a:pt x="184200" y="20301"/>
                    <a:pt x="186402" y="12596"/>
                  </a:cubicBezTo>
                  <a:cubicBezTo>
                    <a:pt x="188604" y="3789"/>
                    <a:pt x="199612" y="-1716"/>
                    <a:pt x="208419" y="486"/>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nvGrpSpPr>
            <p:cNvPr id="121" name="Group 120">
              <a:extLst>
                <a:ext uri="{FF2B5EF4-FFF2-40B4-BE49-F238E27FC236}">
                  <a16:creationId xmlns:a16="http://schemas.microsoft.com/office/drawing/2014/main" id="{D0009F79-EBCB-4C01-A73E-2B4009F3DD0F}"/>
                </a:ext>
              </a:extLst>
            </p:cNvPr>
            <p:cNvGrpSpPr/>
            <p:nvPr/>
          </p:nvGrpSpPr>
          <p:grpSpPr>
            <a:xfrm>
              <a:off x="2124123" y="4071821"/>
              <a:ext cx="299505" cy="230916"/>
              <a:chOff x="5236164" y="3478801"/>
              <a:chExt cx="124778" cy="96203"/>
            </a:xfrm>
          </p:grpSpPr>
          <p:sp>
            <p:nvSpPr>
              <p:cNvPr id="122" name="Freeform: Shape 121">
                <a:extLst>
                  <a:ext uri="{FF2B5EF4-FFF2-40B4-BE49-F238E27FC236}">
                    <a16:creationId xmlns:a16="http://schemas.microsoft.com/office/drawing/2014/main" id="{DB175B5D-3C87-41E0-BFF3-F73D0A79840E}"/>
                  </a:ext>
                </a:extLst>
              </p:cNvPr>
              <p:cNvSpPr/>
              <p:nvPr/>
            </p:nvSpPr>
            <p:spPr>
              <a:xfrm>
                <a:off x="5236164" y="3478801"/>
                <a:ext cx="66675" cy="66675"/>
              </a:xfrm>
              <a:custGeom>
                <a:avLst/>
                <a:gdLst>
                  <a:gd name="connsiteX0" fmla="*/ 64498 w 66675"/>
                  <a:gd name="connsiteY0" fmla="*/ 55926 h 66675"/>
                  <a:gd name="connsiteX1" fmla="*/ 7348 w 66675"/>
                  <a:gd name="connsiteY1" fmla="*/ 7348 h 66675"/>
                  <a:gd name="connsiteX2" fmla="*/ 64498 w 66675"/>
                  <a:gd name="connsiteY2" fmla="*/ 67356 h 66675"/>
                </a:gdLst>
                <a:ahLst/>
                <a:cxnLst>
                  <a:cxn ang="0">
                    <a:pos x="connsiteX0" y="connsiteY0"/>
                  </a:cxn>
                  <a:cxn ang="0">
                    <a:pos x="connsiteX1" y="connsiteY1"/>
                  </a:cxn>
                  <a:cxn ang="0">
                    <a:pos x="connsiteX2" y="connsiteY2"/>
                  </a:cxn>
                </a:cxnLst>
                <a:rect l="l" t="t" r="r" b="b"/>
                <a:pathLst>
                  <a:path w="66675" h="66675">
                    <a:moveTo>
                      <a:pt x="64498" y="55926"/>
                    </a:moveTo>
                    <a:cubicBezTo>
                      <a:pt x="64498" y="55926"/>
                      <a:pt x="61641" y="14968"/>
                      <a:pt x="7348" y="7348"/>
                    </a:cubicBezTo>
                    <a:cubicBezTo>
                      <a:pt x="7348" y="23541"/>
                      <a:pt x="17826" y="63546"/>
                      <a:pt x="64498" y="67356"/>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123" name="Freeform: Shape 122">
                <a:extLst>
                  <a:ext uri="{FF2B5EF4-FFF2-40B4-BE49-F238E27FC236}">
                    <a16:creationId xmlns:a16="http://schemas.microsoft.com/office/drawing/2014/main" id="{B7D9569B-3DC2-45FE-9E69-6EB036EBB008}"/>
                  </a:ext>
                </a:extLst>
              </p:cNvPr>
              <p:cNvSpPr/>
              <p:nvPr/>
            </p:nvSpPr>
            <p:spPr>
              <a:xfrm>
                <a:off x="5294267" y="3478801"/>
                <a:ext cx="66675" cy="66675"/>
              </a:xfrm>
              <a:custGeom>
                <a:avLst/>
                <a:gdLst>
                  <a:gd name="connsiteX0" fmla="*/ 7348 w 66675"/>
                  <a:gd name="connsiteY0" fmla="*/ 55926 h 66675"/>
                  <a:gd name="connsiteX1" fmla="*/ 64498 w 66675"/>
                  <a:gd name="connsiteY1" fmla="*/ 7348 h 66675"/>
                  <a:gd name="connsiteX2" fmla="*/ 7348 w 66675"/>
                  <a:gd name="connsiteY2" fmla="*/ 67356 h 66675"/>
                </a:gdLst>
                <a:ahLst/>
                <a:cxnLst>
                  <a:cxn ang="0">
                    <a:pos x="connsiteX0" y="connsiteY0"/>
                  </a:cxn>
                  <a:cxn ang="0">
                    <a:pos x="connsiteX1" y="connsiteY1"/>
                  </a:cxn>
                  <a:cxn ang="0">
                    <a:pos x="connsiteX2" y="connsiteY2"/>
                  </a:cxn>
                </a:cxnLst>
                <a:rect l="l" t="t" r="r" b="b"/>
                <a:pathLst>
                  <a:path w="66675" h="66675">
                    <a:moveTo>
                      <a:pt x="7348" y="55926"/>
                    </a:moveTo>
                    <a:cubicBezTo>
                      <a:pt x="7348" y="55926"/>
                      <a:pt x="10206" y="14968"/>
                      <a:pt x="64498" y="7348"/>
                    </a:cubicBezTo>
                    <a:cubicBezTo>
                      <a:pt x="64498" y="23541"/>
                      <a:pt x="54021" y="63546"/>
                      <a:pt x="7348" y="67356"/>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sp>
            <p:nvSpPr>
              <p:cNvPr id="124" name="Freeform: Shape 123">
                <a:extLst>
                  <a:ext uri="{FF2B5EF4-FFF2-40B4-BE49-F238E27FC236}">
                    <a16:creationId xmlns:a16="http://schemas.microsoft.com/office/drawing/2014/main" id="{DAB29D5F-FDF0-4AC5-9DE3-03110977CA20}"/>
                  </a:ext>
                </a:extLst>
              </p:cNvPr>
              <p:cNvSpPr/>
              <p:nvPr/>
            </p:nvSpPr>
            <p:spPr>
              <a:xfrm>
                <a:off x="5293314" y="3527379"/>
                <a:ext cx="9525" cy="47625"/>
              </a:xfrm>
              <a:custGeom>
                <a:avLst/>
                <a:gdLst>
                  <a:gd name="connsiteX0" fmla="*/ 7348 w 9525"/>
                  <a:gd name="connsiteY0" fmla="*/ 7348 h 47625"/>
                  <a:gd name="connsiteX1" fmla="*/ 7348 w 9525"/>
                  <a:gd name="connsiteY1" fmla="*/ 47353 h 47625"/>
                </a:gdLst>
                <a:ahLst/>
                <a:cxnLst>
                  <a:cxn ang="0">
                    <a:pos x="connsiteX0" y="connsiteY0"/>
                  </a:cxn>
                  <a:cxn ang="0">
                    <a:pos x="connsiteX1" y="connsiteY1"/>
                  </a:cxn>
                </a:cxnLst>
                <a:rect l="l" t="t" r="r" b="b"/>
                <a:pathLst>
                  <a:path w="9525" h="47625">
                    <a:moveTo>
                      <a:pt x="7348" y="7348"/>
                    </a:moveTo>
                    <a:lnTo>
                      <a:pt x="7348" y="4735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grpSp>
      <p:sp>
        <p:nvSpPr>
          <p:cNvPr id="127" name="Org_ECA6" title="Icon of three boxes in a bracket chart">
            <a:extLst>
              <a:ext uri="{FF2B5EF4-FFF2-40B4-BE49-F238E27FC236}">
                <a16:creationId xmlns:a16="http://schemas.microsoft.com/office/drawing/2014/main" id="{B835779E-20F1-467D-BC61-BFE65823853D}"/>
              </a:ext>
            </a:extLst>
          </p:cNvPr>
          <p:cNvSpPr>
            <a:spLocks noChangeAspect="1" noEditPoints="1"/>
          </p:cNvSpPr>
          <p:nvPr/>
        </p:nvSpPr>
        <p:spPr bwMode="auto">
          <a:xfrm>
            <a:off x="3507283" y="4568897"/>
            <a:ext cx="473481" cy="473711"/>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882">
              <a:gradFill>
                <a:gsLst>
                  <a:gs pos="0">
                    <a:srgbClr val="505050"/>
                  </a:gs>
                  <a:gs pos="100000">
                    <a:srgbClr val="505050"/>
                  </a:gs>
                </a:gsLst>
                <a:lin ang="5400000" scaled="1"/>
              </a:gradFill>
              <a:latin typeface="Segoe UI"/>
            </a:endParaRPr>
          </a:p>
        </p:txBody>
      </p:sp>
      <p:grpSp>
        <p:nvGrpSpPr>
          <p:cNvPr id="128" name="Group 127">
            <a:extLst>
              <a:ext uri="{FF2B5EF4-FFF2-40B4-BE49-F238E27FC236}">
                <a16:creationId xmlns:a16="http://schemas.microsoft.com/office/drawing/2014/main" id="{590A9B61-53D3-43D8-AAC6-72653E7CA27E}"/>
              </a:ext>
            </a:extLst>
          </p:cNvPr>
          <p:cNvGrpSpPr/>
          <p:nvPr/>
        </p:nvGrpSpPr>
        <p:grpSpPr>
          <a:xfrm>
            <a:off x="3550177" y="5724110"/>
            <a:ext cx="387693" cy="412764"/>
            <a:chOff x="-822566" y="1734863"/>
            <a:chExt cx="343544" cy="365760"/>
          </a:xfrm>
        </p:grpSpPr>
        <p:sp>
          <p:nvSpPr>
            <p:cNvPr id="129" name="Shield_EA18" title="Icon of a shield">
              <a:extLst>
                <a:ext uri="{FF2B5EF4-FFF2-40B4-BE49-F238E27FC236}">
                  <a16:creationId xmlns:a16="http://schemas.microsoft.com/office/drawing/2014/main" id="{D9F1318F-8C4F-479A-9678-FD8DA9775DDA}"/>
                </a:ext>
              </a:extLst>
            </p:cNvPr>
            <p:cNvSpPr>
              <a:spLocks noChangeAspect="1"/>
            </p:cNvSpPr>
            <p:nvPr/>
          </p:nvSpPr>
          <p:spPr bwMode="auto">
            <a:xfrm>
              <a:off x="-822566" y="1734863"/>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a:endParaRPr>
            </a:p>
          </p:txBody>
        </p:sp>
        <p:sp>
          <p:nvSpPr>
            <p:cNvPr id="130" name="Lock" title="Icon of a padlock">
              <a:extLst>
                <a:ext uri="{FF2B5EF4-FFF2-40B4-BE49-F238E27FC236}">
                  <a16:creationId xmlns:a16="http://schemas.microsoft.com/office/drawing/2014/main" id="{AF6FFBF7-40AD-42B2-99FD-24BE4E62B283}"/>
                </a:ext>
              </a:extLst>
            </p:cNvPr>
            <p:cNvSpPr>
              <a:spLocks noChangeAspect="1" noEditPoints="1"/>
            </p:cNvSpPr>
            <p:nvPr/>
          </p:nvSpPr>
          <p:spPr bwMode="auto">
            <a:xfrm>
              <a:off x="-715919" y="1826722"/>
              <a:ext cx="130250" cy="18204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C3C41"/>
                </a:solidFill>
                <a:latin typeface="Segoe UI"/>
              </a:endParaRPr>
            </a:p>
          </p:txBody>
        </p:sp>
      </p:grpSp>
      <p:grpSp>
        <p:nvGrpSpPr>
          <p:cNvPr id="132" name="Graphic 4">
            <a:extLst>
              <a:ext uri="{FF2B5EF4-FFF2-40B4-BE49-F238E27FC236}">
                <a16:creationId xmlns:a16="http://schemas.microsoft.com/office/drawing/2014/main" id="{2C81AB85-9E3E-40B7-8BB4-30E8AEDCA0E6}"/>
              </a:ext>
            </a:extLst>
          </p:cNvPr>
          <p:cNvGrpSpPr/>
          <p:nvPr/>
        </p:nvGrpSpPr>
        <p:grpSpPr>
          <a:xfrm>
            <a:off x="8130612" y="2328157"/>
            <a:ext cx="399545" cy="456230"/>
            <a:chOff x="-249143" y="2606769"/>
            <a:chExt cx="345090" cy="394049"/>
          </a:xfrm>
          <a:noFill/>
        </p:grpSpPr>
        <p:sp>
          <p:nvSpPr>
            <p:cNvPr id="133" name="Freeform: Shape 132">
              <a:extLst>
                <a:ext uri="{FF2B5EF4-FFF2-40B4-BE49-F238E27FC236}">
                  <a16:creationId xmlns:a16="http://schemas.microsoft.com/office/drawing/2014/main" id="{1BE6DF69-90FA-44C6-B533-06AE041C3F45}"/>
                </a:ext>
              </a:extLst>
            </p:cNvPr>
            <p:cNvSpPr/>
            <p:nvPr/>
          </p:nvSpPr>
          <p:spPr>
            <a:xfrm>
              <a:off x="-249143" y="2606769"/>
              <a:ext cx="345090" cy="394049"/>
            </a:xfrm>
            <a:custGeom>
              <a:avLst/>
              <a:gdLst>
                <a:gd name="connsiteX0" fmla="*/ 0 w 345090"/>
                <a:gd name="connsiteY0" fmla="*/ 0 h 394049"/>
                <a:gd name="connsiteX1" fmla="*/ 345091 w 345090"/>
                <a:gd name="connsiteY1" fmla="*/ 0 h 394049"/>
                <a:gd name="connsiteX2" fmla="*/ 345091 w 345090"/>
                <a:gd name="connsiteY2" fmla="*/ 394049 h 394049"/>
                <a:gd name="connsiteX3" fmla="*/ 0 w 345090"/>
                <a:gd name="connsiteY3" fmla="*/ 394049 h 394049"/>
              </a:gdLst>
              <a:ahLst/>
              <a:cxnLst>
                <a:cxn ang="0">
                  <a:pos x="connsiteX0" y="connsiteY0"/>
                </a:cxn>
                <a:cxn ang="0">
                  <a:pos x="connsiteX1" y="connsiteY1"/>
                </a:cxn>
                <a:cxn ang="0">
                  <a:pos x="connsiteX2" y="connsiteY2"/>
                </a:cxn>
                <a:cxn ang="0">
                  <a:pos x="connsiteX3" y="connsiteY3"/>
                </a:cxn>
              </a:cxnLst>
              <a:rect l="l" t="t" r="r" b="b"/>
              <a:pathLst>
                <a:path w="345090" h="394049">
                  <a:moveTo>
                    <a:pt x="0" y="0"/>
                  </a:moveTo>
                  <a:lnTo>
                    <a:pt x="345091" y="0"/>
                  </a:lnTo>
                  <a:lnTo>
                    <a:pt x="345091" y="394049"/>
                  </a:lnTo>
                  <a:lnTo>
                    <a:pt x="0" y="394049"/>
                  </a:lnTo>
                  <a:close/>
                </a:path>
              </a:pathLst>
            </a:custGeom>
            <a:noFill/>
            <a:ln w="15875" cap="sq">
              <a:solidFill>
                <a:schemeClr val="tx1"/>
              </a:solidFill>
              <a:prstDash val="solid"/>
              <a:miter/>
            </a:ln>
          </p:spPr>
          <p:txBody>
            <a:bodyPr rtlCol="0" anchor="ctr"/>
            <a:lstStyle/>
            <a:p>
              <a:pPr defTabSz="914367"/>
              <a:endParaRPr lang="en-IN" sz="1765">
                <a:solidFill>
                  <a:srgbClr val="3C3C41"/>
                </a:solidFill>
                <a:latin typeface="Segoe UI"/>
              </a:endParaRPr>
            </a:p>
          </p:txBody>
        </p:sp>
        <p:grpSp>
          <p:nvGrpSpPr>
            <p:cNvPr id="134" name="Graphic 4">
              <a:extLst>
                <a:ext uri="{FF2B5EF4-FFF2-40B4-BE49-F238E27FC236}">
                  <a16:creationId xmlns:a16="http://schemas.microsoft.com/office/drawing/2014/main" id="{C0399589-0CFB-4B7B-8ABA-D08C817EE759}"/>
                </a:ext>
              </a:extLst>
            </p:cNvPr>
            <p:cNvGrpSpPr/>
            <p:nvPr/>
          </p:nvGrpSpPr>
          <p:grpSpPr>
            <a:xfrm>
              <a:off x="-167609" y="2715926"/>
              <a:ext cx="181832" cy="181832"/>
              <a:chOff x="-167609" y="2715926"/>
              <a:chExt cx="181832" cy="181832"/>
            </a:xfrm>
            <a:noFill/>
          </p:grpSpPr>
          <p:sp>
            <p:nvSpPr>
              <p:cNvPr id="135" name="Freeform: Shape 134">
                <a:extLst>
                  <a:ext uri="{FF2B5EF4-FFF2-40B4-BE49-F238E27FC236}">
                    <a16:creationId xmlns:a16="http://schemas.microsoft.com/office/drawing/2014/main" id="{BC17DBF0-F158-4E65-92F8-73B711CDD485}"/>
                  </a:ext>
                </a:extLst>
              </p:cNvPr>
              <p:cNvSpPr/>
              <p:nvPr/>
            </p:nvSpPr>
            <p:spPr>
              <a:xfrm>
                <a:off x="-167609" y="2715926"/>
                <a:ext cx="181832" cy="181832"/>
              </a:xfrm>
              <a:custGeom>
                <a:avLst/>
                <a:gdLst>
                  <a:gd name="connsiteX0" fmla="*/ 0 w 181832"/>
                  <a:gd name="connsiteY0" fmla="*/ 181832 h 181832"/>
                  <a:gd name="connsiteX1" fmla="*/ 181832 w 181832"/>
                  <a:gd name="connsiteY1" fmla="*/ 181832 h 181832"/>
                  <a:gd name="connsiteX2" fmla="*/ 87058 w 181832"/>
                  <a:gd name="connsiteY2" fmla="*/ 0 h 181832"/>
                </a:gdLst>
                <a:ahLst/>
                <a:cxnLst>
                  <a:cxn ang="0">
                    <a:pos x="connsiteX0" y="connsiteY0"/>
                  </a:cxn>
                  <a:cxn ang="0">
                    <a:pos x="connsiteX1" y="connsiteY1"/>
                  </a:cxn>
                  <a:cxn ang="0">
                    <a:pos x="connsiteX2" y="connsiteY2"/>
                  </a:cxn>
                </a:cxnLst>
                <a:rect l="l" t="t" r="r" b="b"/>
                <a:pathLst>
                  <a:path w="181832" h="181832">
                    <a:moveTo>
                      <a:pt x="0" y="181832"/>
                    </a:moveTo>
                    <a:lnTo>
                      <a:pt x="181832" y="181832"/>
                    </a:lnTo>
                    <a:lnTo>
                      <a:pt x="87058" y="0"/>
                    </a:lnTo>
                    <a:close/>
                  </a:path>
                </a:pathLst>
              </a:custGeom>
              <a:noFill/>
              <a:ln w="15875" cap="sq">
                <a:solidFill>
                  <a:schemeClr val="tx1"/>
                </a:solidFill>
                <a:prstDash val="solid"/>
                <a:miter/>
              </a:ln>
            </p:spPr>
            <p:txBody>
              <a:bodyPr rtlCol="0" anchor="ctr"/>
              <a:lstStyle/>
              <a:p>
                <a:pPr defTabSz="914367"/>
                <a:endParaRPr lang="en-IN" sz="1765">
                  <a:solidFill>
                    <a:srgbClr val="3C3C41"/>
                  </a:solidFill>
                  <a:latin typeface="Segoe UI"/>
                </a:endParaRPr>
              </a:p>
            </p:txBody>
          </p:sp>
          <p:sp>
            <p:nvSpPr>
              <p:cNvPr id="136" name="Freeform: Shape 135">
                <a:extLst>
                  <a:ext uri="{FF2B5EF4-FFF2-40B4-BE49-F238E27FC236}">
                    <a16:creationId xmlns:a16="http://schemas.microsoft.com/office/drawing/2014/main" id="{A960507A-06C0-4E6C-AF9B-4EC6051537CD}"/>
                  </a:ext>
                </a:extLst>
              </p:cNvPr>
              <p:cNvSpPr/>
              <p:nvPr/>
            </p:nvSpPr>
            <p:spPr>
              <a:xfrm>
                <a:off x="-76645" y="2781267"/>
                <a:ext cx="9525" cy="67818"/>
              </a:xfrm>
              <a:custGeom>
                <a:avLst/>
                <a:gdLst>
                  <a:gd name="connsiteX0" fmla="*/ 0 w 9525"/>
                  <a:gd name="connsiteY0" fmla="*/ 0 h 67818"/>
                  <a:gd name="connsiteX1" fmla="*/ 0 w 9525"/>
                  <a:gd name="connsiteY1" fmla="*/ 67818 h 67818"/>
                </a:gdLst>
                <a:ahLst/>
                <a:cxnLst>
                  <a:cxn ang="0">
                    <a:pos x="connsiteX0" y="connsiteY0"/>
                  </a:cxn>
                  <a:cxn ang="0">
                    <a:pos x="connsiteX1" y="connsiteY1"/>
                  </a:cxn>
                </a:cxnLst>
                <a:rect l="l" t="t" r="r" b="b"/>
                <a:pathLst>
                  <a:path w="9525" h="67818">
                    <a:moveTo>
                      <a:pt x="0" y="0"/>
                    </a:moveTo>
                    <a:lnTo>
                      <a:pt x="0" y="67818"/>
                    </a:lnTo>
                  </a:path>
                </a:pathLst>
              </a:custGeom>
              <a:ln w="15875" cap="sq">
                <a:solidFill>
                  <a:schemeClr val="tx1"/>
                </a:solidFill>
                <a:prstDash val="solid"/>
                <a:miter/>
              </a:ln>
            </p:spPr>
            <p:txBody>
              <a:bodyPr rtlCol="0" anchor="ctr"/>
              <a:lstStyle/>
              <a:p>
                <a:pPr defTabSz="914367"/>
                <a:endParaRPr lang="en-IN" sz="1765">
                  <a:solidFill>
                    <a:srgbClr val="3C3C41"/>
                  </a:solidFill>
                  <a:latin typeface="Segoe UI"/>
                </a:endParaRPr>
              </a:p>
            </p:txBody>
          </p:sp>
          <p:sp>
            <p:nvSpPr>
              <p:cNvPr id="137" name="Freeform: Shape 136">
                <a:extLst>
                  <a:ext uri="{FF2B5EF4-FFF2-40B4-BE49-F238E27FC236}">
                    <a16:creationId xmlns:a16="http://schemas.microsoft.com/office/drawing/2014/main" id="{CAD0DD69-0341-46B3-A648-6F37C8228402}"/>
                  </a:ext>
                </a:extLst>
              </p:cNvPr>
              <p:cNvSpPr/>
              <p:nvPr/>
            </p:nvSpPr>
            <p:spPr>
              <a:xfrm>
                <a:off x="-76645" y="2867278"/>
                <a:ext cx="9525" cy="6857"/>
              </a:xfrm>
              <a:custGeom>
                <a:avLst/>
                <a:gdLst>
                  <a:gd name="connsiteX0" fmla="*/ 0 w 9525"/>
                  <a:gd name="connsiteY0" fmla="*/ 0 h 6857"/>
                  <a:gd name="connsiteX1" fmla="*/ 0 w 9525"/>
                  <a:gd name="connsiteY1" fmla="*/ 6858 h 6857"/>
                </a:gdLst>
                <a:ahLst/>
                <a:cxnLst>
                  <a:cxn ang="0">
                    <a:pos x="connsiteX0" y="connsiteY0"/>
                  </a:cxn>
                  <a:cxn ang="0">
                    <a:pos x="connsiteX1" y="connsiteY1"/>
                  </a:cxn>
                </a:cxnLst>
                <a:rect l="l" t="t" r="r" b="b"/>
                <a:pathLst>
                  <a:path w="9525" h="6857">
                    <a:moveTo>
                      <a:pt x="0" y="0"/>
                    </a:moveTo>
                    <a:lnTo>
                      <a:pt x="0" y="6858"/>
                    </a:lnTo>
                  </a:path>
                </a:pathLst>
              </a:custGeom>
              <a:ln w="15875" cap="sq">
                <a:solidFill>
                  <a:schemeClr val="tx1"/>
                </a:solidFill>
                <a:prstDash val="solid"/>
                <a:miter/>
              </a:ln>
            </p:spPr>
            <p:txBody>
              <a:bodyPr rtlCol="0" anchor="ctr"/>
              <a:lstStyle/>
              <a:p>
                <a:pPr defTabSz="914367"/>
                <a:endParaRPr lang="en-IN" sz="1765">
                  <a:solidFill>
                    <a:srgbClr val="3C3C41"/>
                  </a:solidFill>
                  <a:latin typeface="Segoe UI"/>
                </a:endParaRPr>
              </a:p>
            </p:txBody>
          </p:sp>
        </p:grpSp>
      </p:grpSp>
      <p:grpSp>
        <p:nvGrpSpPr>
          <p:cNvPr id="138" name="Group 137">
            <a:extLst>
              <a:ext uri="{FF2B5EF4-FFF2-40B4-BE49-F238E27FC236}">
                <a16:creationId xmlns:a16="http://schemas.microsoft.com/office/drawing/2014/main" id="{2B1D38F7-9ACE-4706-A294-CD4F6E1D6DD6}"/>
              </a:ext>
            </a:extLst>
          </p:cNvPr>
          <p:cNvGrpSpPr/>
          <p:nvPr/>
        </p:nvGrpSpPr>
        <p:grpSpPr>
          <a:xfrm>
            <a:off x="8061192" y="3576315"/>
            <a:ext cx="507194" cy="509535"/>
            <a:chOff x="3081076" y="369463"/>
            <a:chExt cx="949166" cy="953547"/>
          </a:xfrm>
        </p:grpSpPr>
        <p:sp>
          <p:nvSpPr>
            <p:cNvPr id="139" name="Freeform: Shape 138">
              <a:extLst>
                <a:ext uri="{FF2B5EF4-FFF2-40B4-BE49-F238E27FC236}">
                  <a16:creationId xmlns:a16="http://schemas.microsoft.com/office/drawing/2014/main" id="{6E43D02C-B7F0-4881-A46A-50A26B0544DF}"/>
                </a:ext>
              </a:extLst>
            </p:cNvPr>
            <p:cNvSpPr/>
            <p:nvPr/>
          </p:nvSpPr>
          <p:spPr>
            <a:xfrm>
              <a:off x="3409784" y="714458"/>
              <a:ext cx="338708" cy="211455"/>
            </a:xfrm>
            <a:custGeom>
              <a:avLst/>
              <a:gdLst>
                <a:gd name="connsiteX0" fmla="*/ 86678 w 338708"/>
                <a:gd name="connsiteY0" fmla="*/ 211455 h 211455"/>
                <a:gd name="connsiteX1" fmla="*/ 86678 w 338708"/>
                <a:gd name="connsiteY1" fmla="*/ 211455 h 211455"/>
                <a:gd name="connsiteX2" fmla="*/ 84677 w 338708"/>
                <a:gd name="connsiteY2" fmla="*/ 211455 h 211455"/>
                <a:gd name="connsiteX3" fmla="*/ 0 w 338708"/>
                <a:gd name="connsiteY3" fmla="*/ 126682 h 211455"/>
                <a:gd name="connsiteX4" fmla="*/ 84677 w 338708"/>
                <a:gd name="connsiteY4" fmla="*/ 42863 h 211455"/>
                <a:gd name="connsiteX5" fmla="*/ 102394 w 338708"/>
                <a:gd name="connsiteY5" fmla="*/ 43815 h 211455"/>
                <a:gd name="connsiteX6" fmla="*/ 181166 w 338708"/>
                <a:gd name="connsiteY6" fmla="*/ 0 h 211455"/>
                <a:gd name="connsiteX7" fmla="*/ 273748 w 338708"/>
                <a:gd name="connsiteY7" fmla="*/ 82772 h 211455"/>
                <a:gd name="connsiteX8" fmla="*/ 273748 w 338708"/>
                <a:gd name="connsiteY8" fmla="*/ 82772 h 211455"/>
                <a:gd name="connsiteX9" fmla="*/ 338709 w 338708"/>
                <a:gd name="connsiteY9" fmla="*/ 147066 h 211455"/>
                <a:gd name="connsiteX10" fmla="*/ 276701 w 338708"/>
                <a:gd name="connsiteY10" fmla="*/ 211360 h 211455"/>
                <a:gd name="connsiteX11" fmla="*/ 276701 w 338708"/>
                <a:gd name="connsiteY11" fmla="*/ 211360 h 211455"/>
                <a:gd name="connsiteX12" fmla="*/ 86678 w 338708"/>
                <a:gd name="connsiteY12" fmla="*/ 211455 h 211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8708" h="211455">
                  <a:moveTo>
                    <a:pt x="86678" y="211455"/>
                  </a:moveTo>
                  <a:lnTo>
                    <a:pt x="86678" y="211455"/>
                  </a:lnTo>
                  <a:cubicBezTo>
                    <a:pt x="85725" y="211455"/>
                    <a:pt x="85725" y="211455"/>
                    <a:pt x="84677" y="211455"/>
                  </a:cubicBezTo>
                  <a:cubicBezTo>
                    <a:pt x="38386" y="211455"/>
                    <a:pt x="0" y="173450"/>
                    <a:pt x="0" y="126682"/>
                  </a:cubicBezTo>
                  <a:cubicBezTo>
                    <a:pt x="0" y="79915"/>
                    <a:pt x="38386" y="42863"/>
                    <a:pt x="84677" y="42863"/>
                  </a:cubicBezTo>
                  <a:cubicBezTo>
                    <a:pt x="90583" y="42863"/>
                    <a:pt x="96488" y="42863"/>
                    <a:pt x="102394" y="43815"/>
                  </a:cubicBezTo>
                  <a:cubicBezTo>
                    <a:pt x="119158" y="17526"/>
                    <a:pt x="147638" y="0"/>
                    <a:pt x="181166" y="0"/>
                  </a:cubicBezTo>
                  <a:cubicBezTo>
                    <a:pt x="229362" y="0"/>
                    <a:pt x="268796" y="36004"/>
                    <a:pt x="273748" y="82772"/>
                  </a:cubicBezTo>
                  <a:lnTo>
                    <a:pt x="273748" y="82772"/>
                  </a:lnTo>
                  <a:cubicBezTo>
                    <a:pt x="310134" y="82772"/>
                    <a:pt x="338709" y="111062"/>
                    <a:pt x="338709" y="147066"/>
                  </a:cubicBezTo>
                  <a:cubicBezTo>
                    <a:pt x="338709" y="181166"/>
                    <a:pt x="311182" y="210407"/>
                    <a:pt x="276701" y="211360"/>
                  </a:cubicBezTo>
                  <a:lnTo>
                    <a:pt x="276701" y="211360"/>
                  </a:lnTo>
                  <a:cubicBezTo>
                    <a:pt x="254127" y="211455"/>
                    <a:pt x="86678" y="211455"/>
                    <a:pt x="86678" y="21145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40" name="Freeform: Shape 139">
              <a:extLst>
                <a:ext uri="{FF2B5EF4-FFF2-40B4-BE49-F238E27FC236}">
                  <a16:creationId xmlns:a16="http://schemas.microsoft.com/office/drawing/2014/main" id="{EF2024C9-A8AC-452F-BC73-57DA31970C2A}"/>
                </a:ext>
              </a:extLst>
            </p:cNvPr>
            <p:cNvSpPr/>
            <p:nvPr/>
          </p:nvSpPr>
          <p:spPr>
            <a:xfrm>
              <a:off x="3518083" y="369463"/>
              <a:ext cx="122015" cy="201358"/>
            </a:xfrm>
            <a:custGeom>
              <a:avLst/>
              <a:gdLst>
                <a:gd name="connsiteX0" fmla="*/ 115253 w 122015"/>
                <a:gd name="connsiteY0" fmla="*/ 201359 h 201358"/>
                <a:gd name="connsiteX1" fmla="*/ 6763 w 122015"/>
                <a:gd name="connsiteY1" fmla="*/ 201359 h 201358"/>
                <a:gd name="connsiteX2" fmla="*/ 0 w 122015"/>
                <a:gd name="connsiteY2" fmla="*/ 194691 h 201358"/>
                <a:gd name="connsiteX3" fmla="*/ 0 w 122015"/>
                <a:gd name="connsiteY3" fmla="*/ 6668 h 201358"/>
                <a:gd name="connsiteX4" fmla="*/ 6763 w 122015"/>
                <a:gd name="connsiteY4" fmla="*/ 0 h 201358"/>
                <a:gd name="connsiteX5" fmla="*/ 115253 w 122015"/>
                <a:gd name="connsiteY5" fmla="*/ 0 h 201358"/>
                <a:gd name="connsiteX6" fmla="*/ 122015 w 122015"/>
                <a:gd name="connsiteY6" fmla="*/ 6668 h 201358"/>
                <a:gd name="connsiteX7" fmla="*/ 122015 w 122015"/>
                <a:gd name="connsiteY7" fmla="*/ 194691 h 201358"/>
                <a:gd name="connsiteX8" fmla="*/ 115253 w 122015"/>
                <a:gd name="connsiteY8" fmla="*/ 201359 h 201358"/>
                <a:gd name="connsiteX9" fmla="*/ 115253 w 122015"/>
                <a:gd name="connsiteY9" fmla="*/ 201359 h 201358"/>
                <a:gd name="connsiteX10" fmla="*/ 47435 w 122015"/>
                <a:gd name="connsiteY10" fmla="*/ 174498 h 201358"/>
                <a:gd name="connsiteX11" fmla="*/ 74581 w 122015"/>
                <a:gd name="connsiteY11" fmla="*/ 174498 h 201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15" h="201358">
                  <a:moveTo>
                    <a:pt x="115253" y="201359"/>
                  </a:moveTo>
                  <a:cubicBezTo>
                    <a:pt x="6763" y="201359"/>
                    <a:pt x="6763" y="201359"/>
                    <a:pt x="6763" y="201359"/>
                  </a:cubicBezTo>
                  <a:cubicBezTo>
                    <a:pt x="3048" y="201359"/>
                    <a:pt x="0" y="198310"/>
                    <a:pt x="0" y="194691"/>
                  </a:cubicBezTo>
                  <a:cubicBezTo>
                    <a:pt x="0" y="6668"/>
                    <a:pt x="0" y="6668"/>
                    <a:pt x="0" y="6668"/>
                  </a:cubicBezTo>
                  <a:cubicBezTo>
                    <a:pt x="0" y="2953"/>
                    <a:pt x="3048" y="0"/>
                    <a:pt x="6763" y="0"/>
                  </a:cubicBezTo>
                  <a:cubicBezTo>
                    <a:pt x="115253" y="0"/>
                    <a:pt x="115253" y="0"/>
                    <a:pt x="115253" y="0"/>
                  </a:cubicBezTo>
                  <a:cubicBezTo>
                    <a:pt x="118967" y="0"/>
                    <a:pt x="122015" y="3048"/>
                    <a:pt x="122015" y="6668"/>
                  </a:cubicBezTo>
                  <a:cubicBezTo>
                    <a:pt x="122015" y="194691"/>
                    <a:pt x="122015" y="194691"/>
                    <a:pt x="122015" y="194691"/>
                  </a:cubicBezTo>
                  <a:cubicBezTo>
                    <a:pt x="122015" y="198310"/>
                    <a:pt x="119063" y="201359"/>
                    <a:pt x="115253" y="201359"/>
                  </a:cubicBezTo>
                  <a:lnTo>
                    <a:pt x="115253" y="201359"/>
                  </a:lnTo>
                  <a:close/>
                  <a:moveTo>
                    <a:pt x="47435" y="174498"/>
                  </a:moveTo>
                  <a:cubicBezTo>
                    <a:pt x="74581" y="174498"/>
                    <a:pt x="74581" y="174498"/>
                    <a:pt x="74581" y="17449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41" name="Freeform: Shape 140">
              <a:extLst>
                <a:ext uri="{FF2B5EF4-FFF2-40B4-BE49-F238E27FC236}">
                  <a16:creationId xmlns:a16="http://schemas.microsoft.com/office/drawing/2014/main" id="{4090B547-34D0-44AF-BC1E-D1EAAF275416}"/>
                </a:ext>
              </a:extLst>
            </p:cNvPr>
            <p:cNvSpPr/>
            <p:nvPr/>
          </p:nvSpPr>
          <p:spPr>
            <a:xfrm>
              <a:off x="3828408" y="772561"/>
              <a:ext cx="201834" cy="155352"/>
            </a:xfrm>
            <a:custGeom>
              <a:avLst/>
              <a:gdLst>
                <a:gd name="connsiteX0" fmla="*/ 201835 w 201834"/>
                <a:gd name="connsiteY0" fmla="*/ 56483 h 155352"/>
                <a:gd name="connsiteX1" fmla="*/ 201835 w 201834"/>
                <a:gd name="connsiteY1" fmla="*/ 125444 h 155352"/>
                <a:gd name="connsiteX2" fmla="*/ 0 w 201834"/>
                <a:gd name="connsiteY2" fmla="*/ 125444 h 155352"/>
                <a:gd name="connsiteX3" fmla="*/ 0 w 201834"/>
                <a:gd name="connsiteY3" fmla="*/ 0 h 155352"/>
                <a:gd name="connsiteX4" fmla="*/ 201835 w 201834"/>
                <a:gd name="connsiteY4" fmla="*/ 0 h 155352"/>
                <a:gd name="connsiteX5" fmla="*/ 201835 w 201834"/>
                <a:gd name="connsiteY5" fmla="*/ 56483 h 155352"/>
                <a:gd name="connsiteX6" fmla="*/ 100965 w 201834"/>
                <a:gd name="connsiteY6" fmla="*/ 125444 h 155352"/>
                <a:gd name="connsiteX7" fmla="*/ 100965 w 201834"/>
                <a:gd name="connsiteY7" fmla="*/ 155353 h 155352"/>
                <a:gd name="connsiteX8" fmla="*/ 60389 w 201834"/>
                <a:gd name="connsiteY8" fmla="*/ 155353 h 155352"/>
                <a:gd name="connsiteX9" fmla="*/ 141446 w 201834"/>
                <a:gd name="connsiteY9" fmla="*/ 155353 h 155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834" h="155352">
                  <a:moveTo>
                    <a:pt x="201835" y="56483"/>
                  </a:moveTo>
                  <a:lnTo>
                    <a:pt x="201835" y="125444"/>
                  </a:lnTo>
                  <a:lnTo>
                    <a:pt x="0" y="125444"/>
                  </a:lnTo>
                  <a:lnTo>
                    <a:pt x="0" y="0"/>
                  </a:lnTo>
                  <a:lnTo>
                    <a:pt x="201835" y="0"/>
                  </a:lnTo>
                  <a:lnTo>
                    <a:pt x="201835" y="56483"/>
                  </a:lnTo>
                  <a:moveTo>
                    <a:pt x="100965" y="125444"/>
                  </a:moveTo>
                  <a:lnTo>
                    <a:pt x="100965" y="155353"/>
                  </a:lnTo>
                  <a:moveTo>
                    <a:pt x="60389" y="155353"/>
                  </a:moveTo>
                  <a:lnTo>
                    <a:pt x="141446" y="15535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42" name="Freeform: Shape 141">
              <a:extLst>
                <a:ext uri="{FF2B5EF4-FFF2-40B4-BE49-F238E27FC236}">
                  <a16:creationId xmlns:a16="http://schemas.microsoft.com/office/drawing/2014/main" id="{13D44353-11A8-4BB9-9CA1-F1309282C3A6}"/>
                </a:ext>
              </a:extLst>
            </p:cNvPr>
            <p:cNvSpPr/>
            <p:nvPr/>
          </p:nvSpPr>
          <p:spPr>
            <a:xfrm>
              <a:off x="3703345" y="501765"/>
              <a:ext cx="226028" cy="225933"/>
            </a:xfrm>
            <a:custGeom>
              <a:avLst/>
              <a:gdLst>
                <a:gd name="connsiteX0" fmla="*/ 226028 w 226028"/>
                <a:gd name="connsiteY0" fmla="*/ 225933 h 225933"/>
                <a:gd name="connsiteX1" fmla="*/ 0 w 226028"/>
                <a:gd name="connsiteY1" fmla="*/ 0 h 225933"/>
              </a:gdLst>
              <a:ahLst/>
              <a:cxnLst>
                <a:cxn ang="0">
                  <a:pos x="connsiteX0" y="connsiteY0"/>
                </a:cxn>
                <a:cxn ang="0">
                  <a:pos x="connsiteX1" y="connsiteY1"/>
                </a:cxn>
              </a:cxnLst>
              <a:rect l="l" t="t" r="r" b="b"/>
              <a:pathLst>
                <a:path w="226028" h="225933">
                  <a:moveTo>
                    <a:pt x="226028" y="225933"/>
                  </a:moveTo>
                  <a:cubicBezTo>
                    <a:pt x="188500" y="120777"/>
                    <a:pt x="105156" y="37433"/>
                    <a:pt x="0"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43" name="Freeform: Shape 142">
              <a:extLst>
                <a:ext uri="{FF2B5EF4-FFF2-40B4-BE49-F238E27FC236}">
                  <a16:creationId xmlns:a16="http://schemas.microsoft.com/office/drawing/2014/main" id="{6021A0E4-9CE5-423E-898B-BE5AD28CBF20}"/>
                </a:ext>
              </a:extLst>
            </p:cNvPr>
            <p:cNvSpPr/>
            <p:nvPr/>
          </p:nvSpPr>
          <p:spPr>
            <a:xfrm>
              <a:off x="3227000" y="501765"/>
              <a:ext cx="226028" cy="225933"/>
            </a:xfrm>
            <a:custGeom>
              <a:avLst/>
              <a:gdLst>
                <a:gd name="connsiteX0" fmla="*/ 226028 w 226028"/>
                <a:gd name="connsiteY0" fmla="*/ 0 h 225933"/>
                <a:gd name="connsiteX1" fmla="*/ 0 w 226028"/>
                <a:gd name="connsiteY1" fmla="*/ 225933 h 225933"/>
              </a:gdLst>
              <a:ahLst/>
              <a:cxnLst>
                <a:cxn ang="0">
                  <a:pos x="connsiteX0" y="connsiteY0"/>
                </a:cxn>
                <a:cxn ang="0">
                  <a:pos x="connsiteX1" y="connsiteY1"/>
                </a:cxn>
              </a:cxnLst>
              <a:rect l="l" t="t" r="r" b="b"/>
              <a:pathLst>
                <a:path w="226028" h="225933">
                  <a:moveTo>
                    <a:pt x="226028" y="0"/>
                  </a:moveTo>
                  <a:cubicBezTo>
                    <a:pt x="120872" y="37433"/>
                    <a:pt x="37528" y="120777"/>
                    <a:pt x="0" y="225933"/>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44" name="Freeform: Shape 143">
              <a:extLst>
                <a:ext uri="{FF2B5EF4-FFF2-40B4-BE49-F238E27FC236}">
                  <a16:creationId xmlns:a16="http://schemas.microsoft.com/office/drawing/2014/main" id="{0B146DB3-E70E-4E01-B2CC-FDFBEAC5C0D5}"/>
                </a:ext>
              </a:extLst>
            </p:cNvPr>
            <p:cNvSpPr/>
            <p:nvPr/>
          </p:nvSpPr>
          <p:spPr>
            <a:xfrm>
              <a:off x="3227000" y="978110"/>
              <a:ext cx="225932" cy="225933"/>
            </a:xfrm>
            <a:custGeom>
              <a:avLst/>
              <a:gdLst>
                <a:gd name="connsiteX0" fmla="*/ 0 w 225932"/>
                <a:gd name="connsiteY0" fmla="*/ 0 h 225933"/>
                <a:gd name="connsiteX1" fmla="*/ 225933 w 225932"/>
                <a:gd name="connsiteY1" fmla="*/ 225933 h 225933"/>
              </a:gdLst>
              <a:ahLst/>
              <a:cxnLst>
                <a:cxn ang="0">
                  <a:pos x="connsiteX0" y="connsiteY0"/>
                </a:cxn>
                <a:cxn ang="0">
                  <a:pos x="connsiteX1" y="connsiteY1"/>
                </a:cxn>
              </a:cxnLst>
              <a:rect l="l" t="t" r="r" b="b"/>
              <a:pathLst>
                <a:path w="225932" h="225933">
                  <a:moveTo>
                    <a:pt x="0" y="0"/>
                  </a:moveTo>
                  <a:cubicBezTo>
                    <a:pt x="37528" y="105156"/>
                    <a:pt x="120872" y="188500"/>
                    <a:pt x="225933" y="225933"/>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45" name="Freeform: Shape 144">
              <a:extLst>
                <a:ext uri="{FF2B5EF4-FFF2-40B4-BE49-F238E27FC236}">
                  <a16:creationId xmlns:a16="http://schemas.microsoft.com/office/drawing/2014/main" id="{BA113905-7061-4FF6-BBE0-B500685EF917}"/>
                </a:ext>
              </a:extLst>
            </p:cNvPr>
            <p:cNvSpPr/>
            <p:nvPr/>
          </p:nvSpPr>
          <p:spPr>
            <a:xfrm>
              <a:off x="3703345" y="978110"/>
              <a:ext cx="226028" cy="225933"/>
            </a:xfrm>
            <a:custGeom>
              <a:avLst/>
              <a:gdLst>
                <a:gd name="connsiteX0" fmla="*/ 0 w 226028"/>
                <a:gd name="connsiteY0" fmla="*/ 225933 h 225933"/>
                <a:gd name="connsiteX1" fmla="*/ 226028 w 226028"/>
                <a:gd name="connsiteY1" fmla="*/ 0 h 225933"/>
              </a:gdLst>
              <a:ahLst/>
              <a:cxnLst>
                <a:cxn ang="0">
                  <a:pos x="connsiteX0" y="connsiteY0"/>
                </a:cxn>
                <a:cxn ang="0">
                  <a:pos x="connsiteX1" y="connsiteY1"/>
                </a:cxn>
              </a:cxnLst>
              <a:rect l="l" t="t" r="r" b="b"/>
              <a:pathLst>
                <a:path w="226028" h="225933">
                  <a:moveTo>
                    <a:pt x="0" y="225933"/>
                  </a:moveTo>
                  <a:cubicBezTo>
                    <a:pt x="105156" y="188404"/>
                    <a:pt x="188500" y="105156"/>
                    <a:pt x="226028"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46" name="Freeform: Shape 145">
              <a:extLst>
                <a:ext uri="{FF2B5EF4-FFF2-40B4-BE49-F238E27FC236}">
                  <a16:creationId xmlns:a16="http://schemas.microsoft.com/office/drawing/2014/main" id="{D71EE1A6-63F0-433D-9F05-F1C93D69471C}"/>
                </a:ext>
              </a:extLst>
            </p:cNvPr>
            <p:cNvSpPr/>
            <p:nvPr/>
          </p:nvSpPr>
          <p:spPr>
            <a:xfrm>
              <a:off x="3087649" y="770465"/>
              <a:ext cx="242125" cy="99440"/>
            </a:xfrm>
            <a:custGeom>
              <a:avLst/>
              <a:gdLst>
                <a:gd name="connsiteX0" fmla="*/ 0 w 242125"/>
                <a:gd name="connsiteY0" fmla="*/ 0 h 99440"/>
                <a:gd name="connsiteX1" fmla="*/ 101632 w 242125"/>
                <a:gd name="connsiteY1" fmla="*/ 81058 h 99440"/>
                <a:gd name="connsiteX2" fmla="*/ 124016 w 242125"/>
                <a:gd name="connsiteY2" fmla="*/ 99441 h 99440"/>
                <a:gd name="connsiteX3" fmla="*/ 146399 w 242125"/>
                <a:gd name="connsiteY3" fmla="*/ 81058 h 99440"/>
                <a:gd name="connsiteX4" fmla="*/ 242126 w 242125"/>
                <a:gd name="connsiteY4" fmla="*/ 286 h 99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125" h="99440">
                  <a:moveTo>
                    <a:pt x="0" y="0"/>
                  </a:moveTo>
                  <a:lnTo>
                    <a:pt x="101632" y="81058"/>
                  </a:lnTo>
                  <a:lnTo>
                    <a:pt x="124016" y="99441"/>
                  </a:lnTo>
                  <a:lnTo>
                    <a:pt x="146399" y="81058"/>
                  </a:lnTo>
                  <a:lnTo>
                    <a:pt x="242126" y="286"/>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47" name="Freeform: Shape 146">
              <a:extLst>
                <a:ext uri="{FF2B5EF4-FFF2-40B4-BE49-F238E27FC236}">
                  <a16:creationId xmlns:a16="http://schemas.microsoft.com/office/drawing/2014/main" id="{CA88BD31-5453-449B-A01B-9F112BD268DB}"/>
                </a:ext>
              </a:extLst>
            </p:cNvPr>
            <p:cNvSpPr/>
            <p:nvPr/>
          </p:nvSpPr>
          <p:spPr>
            <a:xfrm>
              <a:off x="3087649" y="850190"/>
              <a:ext cx="97155" cy="84582"/>
            </a:xfrm>
            <a:custGeom>
              <a:avLst/>
              <a:gdLst>
                <a:gd name="connsiteX0" fmla="*/ 97155 w 97155"/>
                <a:gd name="connsiteY0" fmla="*/ 0 h 84582"/>
                <a:gd name="connsiteX1" fmla="*/ 0 w 97155"/>
                <a:gd name="connsiteY1" fmla="*/ 84582 h 84582"/>
              </a:gdLst>
              <a:ahLst/>
              <a:cxnLst>
                <a:cxn ang="0">
                  <a:pos x="connsiteX0" y="connsiteY0"/>
                </a:cxn>
                <a:cxn ang="0">
                  <a:pos x="connsiteX1" y="connsiteY1"/>
                </a:cxn>
              </a:cxnLst>
              <a:rect l="l" t="t" r="r" b="b"/>
              <a:pathLst>
                <a:path w="97155" h="84582">
                  <a:moveTo>
                    <a:pt x="97155" y="0"/>
                  </a:moveTo>
                  <a:lnTo>
                    <a:pt x="0" y="84582"/>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48" name="Freeform: Shape 147">
              <a:extLst>
                <a:ext uri="{FF2B5EF4-FFF2-40B4-BE49-F238E27FC236}">
                  <a16:creationId xmlns:a16="http://schemas.microsoft.com/office/drawing/2014/main" id="{FFB96F9E-B246-4325-BDAB-1CD6A6D56678}"/>
                </a:ext>
              </a:extLst>
            </p:cNvPr>
            <p:cNvSpPr/>
            <p:nvPr/>
          </p:nvSpPr>
          <p:spPr>
            <a:xfrm>
              <a:off x="3232715" y="850190"/>
              <a:ext cx="97059" cy="84582"/>
            </a:xfrm>
            <a:custGeom>
              <a:avLst/>
              <a:gdLst>
                <a:gd name="connsiteX0" fmla="*/ 0 w 97059"/>
                <a:gd name="connsiteY0" fmla="*/ 0 h 84582"/>
                <a:gd name="connsiteX1" fmla="*/ 97060 w 97059"/>
                <a:gd name="connsiteY1" fmla="*/ 84582 h 84582"/>
              </a:gdLst>
              <a:ahLst/>
              <a:cxnLst>
                <a:cxn ang="0">
                  <a:pos x="connsiteX0" y="connsiteY0"/>
                </a:cxn>
                <a:cxn ang="0">
                  <a:pos x="connsiteX1" y="connsiteY1"/>
                </a:cxn>
              </a:cxnLst>
              <a:rect l="l" t="t" r="r" b="b"/>
              <a:pathLst>
                <a:path w="97059" h="84582">
                  <a:moveTo>
                    <a:pt x="0" y="0"/>
                  </a:moveTo>
                  <a:lnTo>
                    <a:pt x="97060" y="84582"/>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49" name="Freeform: Shape 148">
              <a:extLst>
                <a:ext uri="{FF2B5EF4-FFF2-40B4-BE49-F238E27FC236}">
                  <a16:creationId xmlns:a16="http://schemas.microsoft.com/office/drawing/2014/main" id="{AB01927F-1BC0-43D4-9B36-3C15100E7AD0}"/>
                </a:ext>
              </a:extLst>
            </p:cNvPr>
            <p:cNvSpPr/>
            <p:nvPr/>
          </p:nvSpPr>
          <p:spPr>
            <a:xfrm>
              <a:off x="3081076" y="765226"/>
              <a:ext cx="255365" cy="175355"/>
            </a:xfrm>
            <a:custGeom>
              <a:avLst/>
              <a:gdLst>
                <a:gd name="connsiteX0" fmla="*/ 21050 w 255365"/>
                <a:gd name="connsiteY0" fmla="*/ 175355 h 175355"/>
                <a:gd name="connsiteX1" fmla="*/ 234315 w 255365"/>
                <a:gd name="connsiteY1" fmla="*/ 175355 h 175355"/>
                <a:gd name="connsiteX2" fmla="*/ 255365 w 255365"/>
                <a:gd name="connsiteY2" fmla="*/ 154305 h 175355"/>
                <a:gd name="connsiteX3" fmla="*/ 255365 w 255365"/>
                <a:gd name="connsiteY3" fmla="*/ 21050 h 175355"/>
                <a:gd name="connsiteX4" fmla="*/ 234315 w 255365"/>
                <a:gd name="connsiteY4" fmla="*/ 0 h 175355"/>
                <a:gd name="connsiteX5" fmla="*/ 21050 w 255365"/>
                <a:gd name="connsiteY5" fmla="*/ 0 h 175355"/>
                <a:gd name="connsiteX6" fmla="*/ 0 w 255365"/>
                <a:gd name="connsiteY6" fmla="*/ 21050 h 175355"/>
                <a:gd name="connsiteX7" fmla="*/ 0 w 255365"/>
                <a:gd name="connsiteY7" fmla="*/ 154305 h 175355"/>
                <a:gd name="connsiteX8" fmla="*/ 21050 w 255365"/>
                <a:gd name="connsiteY8" fmla="*/ 175355 h 17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365" h="175355">
                  <a:moveTo>
                    <a:pt x="21050" y="175355"/>
                  </a:moveTo>
                  <a:lnTo>
                    <a:pt x="234315" y="175355"/>
                  </a:lnTo>
                  <a:cubicBezTo>
                    <a:pt x="245936" y="175355"/>
                    <a:pt x="255365" y="165926"/>
                    <a:pt x="255365" y="154305"/>
                  </a:cubicBezTo>
                  <a:lnTo>
                    <a:pt x="255365" y="21050"/>
                  </a:lnTo>
                  <a:cubicBezTo>
                    <a:pt x="255365" y="9430"/>
                    <a:pt x="245936" y="0"/>
                    <a:pt x="234315" y="0"/>
                  </a:cubicBezTo>
                  <a:lnTo>
                    <a:pt x="21050" y="0"/>
                  </a:lnTo>
                  <a:cubicBezTo>
                    <a:pt x="9430" y="0"/>
                    <a:pt x="0" y="9430"/>
                    <a:pt x="0" y="21050"/>
                  </a:cubicBezTo>
                  <a:lnTo>
                    <a:pt x="0" y="154305"/>
                  </a:lnTo>
                  <a:cubicBezTo>
                    <a:pt x="0" y="165926"/>
                    <a:pt x="9430" y="175355"/>
                    <a:pt x="21050" y="17535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50" name="Freeform: Shape 149">
              <a:extLst>
                <a:ext uri="{FF2B5EF4-FFF2-40B4-BE49-F238E27FC236}">
                  <a16:creationId xmlns:a16="http://schemas.microsoft.com/office/drawing/2014/main" id="{7343A9DC-2A18-4269-A45A-806242810859}"/>
                </a:ext>
              </a:extLst>
            </p:cNvPr>
            <p:cNvSpPr/>
            <p:nvPr/>
          </p:nvSpPr>
          <p:spPr>
            <a:xfrm>
              <a:off x="3486746" y="1106317"/>
              <a:ext cx="182879" cy="216693"/>
            </a:xfrm>
            <a:custGeom>
              <a:avLst/>
              <a:gdLst>
                <a:gd name="connsiteX0" fmla="*/ 0 w 182879"/>
                <a:gd name="connsiteY0" fmla="*/ 52673 h 216693"/>
                <a:gd name="connsiteX1" fmla="*/ 0 w 182879"/>
                <a:gd name="connsiteY1" fmla="*/ 163830 h 216693"/>
                <a:gd name="connsiteX2" fmla="*/ 91440 w 182879"/>
                <a:gd name="connsiteY2" fmla="*/ 216694 h 216693"/>
                <a:gd name="connsiteX3" fmla="*/ 182880 w 182879"/>
                <a:gd name="connsiteY3" fmla="*/ 163830 h 216693"/>
                <a:gd name="connsiteX4" fmla="*/ 182880 w 182879"/>
                <a:gd name="connsiteY4" fmla="*/ 52673 h 216693"/>
                <a:gd name="connsiteX5" fmla="*/ 91440 w 182879"/>
                <a:gd name="connsiteY5" fmla="*/ 0 h 21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79" h="216693">
                  <a:moveTo>
                    <a:pt x="0" y="52673"/>
                  </a:moveTo>
                  <a:lnTo>
                    <a:pt x="0" y="163830"/>
                  </a:lnTo>
                  <a:lnTo>
                    <a:pt x="91440" y="216694"/>
                  </a:lnTo>
                  <a:lnTo>
                    <a:pt x="182880" y="163830"/>
                  </a:lnTo>
                  <a:lnTo>
                    <a:pt x="182880" y="52673"/>
                  </a:lnTo>
                  <a:lnTo>
                    <a:pt x="91440" y="0"/>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51" name="Freeform: Shape 150">
              <a:extLst>
                <a:ext uri="{FF2B5EF4-FFF2-40B4-BE49-F238E27FC236}">
                  <a16:creationId xmlns:a16="http://schemas.microsoft.com/office/drawing/2014/main" id="{4EC49F07-1DD2-49DC-A2F6-8A828BFFB640}"/>
                </a:ext>
              </a:extLst>
            </p:cNvPr>
            <p:cNvSpPr/>
            <p:nvPr/>
          </p:nvSpPr>
          <p:spPr>
            <a:xfrm>
              <a:off x="3578186" y="1210901"/>
              <a:ext cx="9525" cy="112109"/>
            </a:xfrm>
            <a:custGeom>
              <a:avLst/>
              <a:gdLst>
                <a:gd name="connsiteX0" fmla="*/ 0 w 9525"/>
                <a:gd name="connsiteY0" fmla="*/ 0 h 112109"/>
                <a:gd name="connsiteX1" fmla="*/ 0 w 9525"/>
                <a:gd name="connsiteY1" fmla="*/ 112109 h 112109"/>
              </a:gdLst>
              <a:ahLst/>
              <a:cxnLst>
                <a:cxn ang="0">
                  <a:pos x="connsiteX0" y="connsiteY0"/>
                </a:cxn>
                <a:cxn ang="0">
                  <a:pos x="connsiteX1" y="connsiteY1"/>
                </a:cxn>
              </a:cxnLst>
              <a:rect l="l" t="t" r="r" b="b"/>
              <a:pathLst>
                <a:path w="9525" h="112109">
                  <a:moveTo>
                    <a:pt x="0" y="0"/>
                  </a:moveTo>
                  <a:lnTo>
                    <a:pt x="0" y="112109"/>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sp>
          <p:nvSpPr>
            <p:cNvPr id="152" name="Freeform: Shape 151">
              <a:extLst>
                <a:ext uri="{FF2B5EF4-FFF2-40B4-BE49-F238E27FC236}">
                  <a16:creationId xmlns:a16="http://schemas.microsoft.com/office/drawing/2014/main" id="{62D01356-6CC6-46F0-95D4-F0770B0BBD28}"/>
                </a:ext>
              </a:extLst>
            </p:cNvPr>
            <p:cNvSpPr/>
            <p:nvPr/>
          </p:nvSpPr>
          <p:spPr>
            <a:xfrm>
              <a:off x="3486746" y="1158990"/>
              <a:ext cx="182879" cy="51911"/>
            </a:xfrm>
            <a:custGeom>
              <a:avLst/>
              <a:gdLst>
                <a:gd name="connsiteX0" fmla="*/ 0 w 182879"/>
                <a:gd name="connsiteY0" fmla="*/ 0 h 51911"/>
                <a:gd name="connsiteX1" fmla="*/ 91440 w 182879"/>
                <a:gd name="connsiteY1" fmla="*/ 51911 h 51911"/>
                <a:gd name="connsiteX2" fmla="*/ 182880 w 182879"/>
                <a:gd name="connsiteY2" fmla="*/ 0 h 51911"/>
              </a:gdLst>
              <a:ahLst/>
              <a:cxnLst>
                <a:cxn ang="0">
                  <a:pos x="connsiteX0" y="connsiteY0"/>
                </a:cxn>
                <a:cxn ang="0">
                  <a:pos x="connsiteX1" y="connsiteY1"/>
                </a:cxn>
                <a:cxn ang="0">
                  <a:pos x="connsiteX2" y="connsiteY2"/>
                </a:cxn>
              </a:cxnLst>
              <a:rect l="l" t="t" r="r" b="b"/>
              <a:pathLst>
                <a:path w="182879" h="51911">
                  <a:moveTo>
                    <a:pt x="0" y="0"/>
                  </a:moveTo>
                  <a:lnTo>
                    <a:pt x="91440" y="51911"/>
                  </a:lnTo>
                  <a:lnTo>
                    <a:pt x="18288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defTabSz="914367"/>
              <a:endParaRPr lang="en-US" sz="1765">
                <a:solidFill>
                  <a:srgbClr val="3C3C41"/>
                </a:solidFill>
                <a:latin typeface="Segoe UI"/>
              </a:endParaRPr>
            </a:p>
          </p:txBody>
        </p:sp>
      </p:grpSp>
      <p:sp>
        <p:nvSpPr>
          <p:cNvPr id="153" name="Graphic 675">
            <a:extLst>
              <a:ext uri="{FF2B5EF4-FFF2-40B4-BE49-F238E27FC236}">
                <a16:creationId xmlns:a16="http://schemas.microsoft.com/office/drawing/2014/main" id="{948F9F39-92F0-497D-ACEB-9588B7F85E06}"/>
              </a:ext>
            </a:extLst>
          </p:cNvPr>
          <p:cNvSpPr/>
          <p:nvPr/>
        </p:nvSpPr>
        <p:spPr>
          <a:xfrm>
            <a:off x="8091902" y="4590566"/>
            <a:ext cx="422558" cy="430369"/>
          </a:xfrm>
          <a:custGeom>
            <a:avLst/>
            <a:gdLst>
              <a:gd name="connsiteX0" fmla="*/ 431031 w 431031"/>
              <a:gd name="connsiteY0" fmla="*/ 277886 h 438999"/>
              <a:gd name="connsiteX1" fmla="*/ 161036 w 431031"/>
              <a:gd name="connsiteY1" fmla="*/ 431031 h 438999"/>
              <a:gd name="connsiteX2" fmla="*/ 8025 w 431031"/>
              <a:gd name="connsiteY2" fmla="*/ 161036 h 438999"/>
              <a:gd name="connsiteX3" fmla="*/ 277886 w 431031"/>
              <a:gd name="connsiteY3" fmla="*/ 8025 h 438999"/>
              <a:gd name="connsiteX4" fmla="*/ 393791 w 431031"/>
              <a:gd name="connsiteY4" fmla="*/ 86285 h 438999"/>
              <a:gd name="connsiteX5" fmla="*/ 339279 w 431031"/>
              <a:gd name="connsiteY5" fmla="*/ 89658 h 438999"/>
              <a:gd name="connsiteX6" fmla="*/ 397839 w 431031"/>
              <a:gd name="connsiteY6" fmla="*/ 89388 h 438999"/>
              <a:gd name="connsiteX7" fmla="*/ 399053 w 431031"/>
              <a:gd name="connsiteY7" fmla="*/ 30963 h 438999"/>
              <a:gd name="connsiteX8" fmla="*/ 219461 w 431031"/>
              <a:gd name="connsiteY8" fmla="*/ 226477 h 438999"/>
              <a:gd name="connsiteX9" fmla="*/ 176283 w 431031"/>
              <a:gd name="connsiteY9" fmla="*/ 183839 h 438999"/>
              <a:gd name="connsiteX10" fmla="*/ 219461 w 431031"/>
              <a:gd name="connsiteY10" fmla="*/ 140392 h 438999"/>
              <a:gd name="connsiteX11" fmla="*/ 262638 w 431031"/>
              <a:gd name="connsiteY11" fmla="*/ 183839 h 438999"/>
              <a:gd name="connsiteX12" fmla="*/ 219461 w 431031"/>
              <a:gd name="connsiteY12" fmla="*/ 226477 h 438999"/>
              <a:gd name="connsiteX13" fmla="*/ 219461 w 431031"/>
              <a:gd name="connsiteY13" fmla="*/ 226477 h 438999"/>
              <a:gd name="connsiteX14" fmla="*/ 288275 w 431031"/>
              <a:gd name="connsiteY14" fmla="*/ 297046 h 438999"/>
              <a:gd name="connsiteX15" fmla="*/ 149432 w 431031"/>
              <a:gd name="connsiteY15" fmla="*/ 297046 h 438999"/>
              <a:gd name="connsiteX16" fmla="*/ 218786 w 431031"/>
              <a:gd name="connsiteY16" fmla="*/ 226477 h 438999"/>
              <a:gd name="connsiteX17" fmla="*/ 288140 w 431031"/>
              <a:gd name="connsiteY17" fmla="*/ 297046 h 438999"/>
              <a:gd name="connsiteX18" fmla="*/ 328349 w 431031"/>
              <a:gd name="connsiteY18" fmla="*/ 220540 h 438999"/>
              <a:gd name="connsiteX19" fmla="*/ 287735 w 431031"/>
              <a:gd name="connsiteY19" fmla="*/ 180466 h 438999"/>
              <a:gd name="connsiteX20" fmla="*/ 328349 w 431031"/>
              <a:gd name="connsiteY20" fmla="*/ 139582 h 438999"/>
              <a:gd name="connsiteX21" fmla="*/ 368964 w 431031"/>
              <a:gd name="connsiteY21" fmla="*/ 180466 h 438999"/>
              <a:gd name="connsiteX22" fmla="*/ 328349 w 431031"/>
              <a:gd name="connsiteY22" fmla="*/ 220540 h 438999"/>
              <a:gd name="connsiteX23" fmla="*/ 328349 w 431031"/>
              <a:gd name="connsiteY23" fmla="*/ 220540 h 438999"/>
              <a:gd name="connsiteX24" fmla="*/ 274377 w 431031"/>
              <a:gd name="connsiteY24" fmla="*/ 248606 h 438999"/>
              <a:gd name="connsiteX25" fmla="*/ 327540 w 431031"/>
              <a:gd name="connsiteY25" fmla="*/ 220675 h 438999"/>
              <a:gd name="connsiteX26" fmla="*/ 392711 w 431031"/>
              <a:gd name="connsiteY26" fmla="*/ 287061 h 438999"/>
              <a:gd name="connsiteX27" fmla="*/ 289355 w 431031"/>
              <a:gd name="connsiteY27" fmla="*/ 287061 h 438999"/>
              <a:gd name="connsiteX28" fmla="*/ 110167 w 431031"/>
              <a:gd name="connsiteY28" fmla="*/ 220540 h 438999"/>
              <a:gd name="connsiteX29" fmla="*/ 69553 w 431031"/>
              <a:gd name="connsiteY29" fmla="*/ 180466 h 438999"/>
              <a:gd name="connsiteX30" fmla="*/ 110167 w 431031"/>
              <a:gd name="connsiteY30" fmla="*/ 139582 h 438999"/>
              <a:gd name="connsiteX31" fmla="*/ 150781 w 431031"/>
              <a:gd name="connsiteY31" fmla="*/ 180466 h 438999"/>
              <a:gd name="connsiteX32" fmla="*/ 110167 w 431031"/>
              <a:gd name="connsiteY32" fmla="*/ 220540 h 438999"/>
              <a:gd name="connsiteX33" fmla="*/ 110167 w 431031"/>
              <a:gd name="connsiteY33" fmla="*/ 220540 h 438999"/>
              <a:gd name="connsiteX34" fmla="*/ 149432 w 431031"/>
              <a:gd name="connsiteY34" fmla="*/ 286926 h 438999"/>
              <a:gd name="connsiteX35" fmla="*/ 44321 w 431031"/>
              <a:gd name="connsiteY35" fmla="*/ 286926 h 438999"/>
              <a:gd name="connsiteX36" fmla="*/ 109493 w 431031"/>
              <a:gd name="connsiteY36" fmla="*/ 220540 h 438999"/>
              <a:gd name="connsiteX37" fmla="*/ 163195 w 431031"/>
              <a:gd name="connsiteY37" fmla="*/ 249280 h 43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1031" h="438999">
                <a:moveTo>
                  <a:pt x="431031" y="277886"/>
                </a:moveTo>
                <a:cubicBezTo>
                  <a:pt x="398783" y="394735"/>
                  <a:pt x="277886" y="463280"/>
                  <a:pt x="161036" y="431031"/>
                </a:cubicBezTo>
                <a:cubicBezTo>
                  <a:pt x="44186" y="398783"/>
                  <a:pt x="-24358" y="277886"/>
                  <a:pt x="8025" y="161036"/>
                </a:cubicBezTo>
                <a:cubicBezTo>
                  <a:pt x="40408" y="44186"/>
                  <a:pt x="161036" y="-24358"/>
                  <a:pt x="277886" y="8025"/>
                </a:cubicBezTo>
                <a:cubicBezTo>
                  <a:pt x="325921" y="21248"/>
                  <a:pt x="365725" y="49583"/>
                  <a:pt x="393791" y="86285"/>
                </a:cubicBezTo>
                <a:moveTo>
                  <a:pt x="339279" y="89658"/>
                </a:moveTo>
                <a:cubicBezTo>
                  <a:pt x="339279" y="89658"/>
                  <a:pt x="339279" y="89658"/>
                  <a:pt x="397839" y="89388"/>
                </a:cubicBezTo>
                <a:cubicBezTo>
                  <a:pt x="397839" y="89388"/>
                  <a:pt x="397839" y="89388"/>
                  <a:pt x="399053" y="30963"/>
                </a:cubicBezTo>
                <a:moveTo>
                  <a:pt x="219461" y="226477"/>
                </a:moveTo>
                <a:cubicBezTo>
                  <a:pt x="195578" y="226477"/>
                  <a:pt x="176283" y="207047"/>
                  <a:pt x="176283" y="183839"/>
                </a:cubicBezTo>
                <a:cubicBezTo>
                  <a:pt x="176283" y="159822"/>
                  <a:pt x="195578" y="140392"/>
                  <a:pt x="219461" y="140392"/>
                </a:cubicBezTo>
                <a:cubicBezTo>
                  <a:pt x="243343" y="140392"/>
                  <a:pt x="262638" y="159822"/>
                  <a:pt x="262638" y="183839"/>
                </a:cubicBezTo>
                <a:cubicBezTo>
                  <a:pt x="262638" y="207047"/>
                  <a:pt x="243343" y="226477"/>
                  <a:pt x="219461" y="226477"/>
                </a:cubicBezTo>
                <a:lnTo>
                  <a:pt x="219461" y="226477"/>
                </a:lnTo>
                <a:close/>
                <a:moveTo>
                  <a:pt x="288275" y="297046"/>
                </a:moveTo>
                <a:lnTo>
                  <a:pt x="149432" y="297046"/>
                </a:lnTo>
                <a:cubicBezTo>
                  <a:pt x="149432" y="258321"/>
                  <a:pt x="180196" y="226477"/>
                  <a:pt x="218786" y="226477"/>
                </a:cubicBezTo>
                <a:cubicBezTo>
                  <a:pt x="257241" y="226477"/>
                  <a:pt x="288140" y="258321"/>
                  <a:pt x="288140" y="297046"/>
                </a:cubicBezTo>
                <a:moveTo>
                  <a:pt x="328349" y="220540"/>
                </a:moveTo>
                <a:cubicBezTo>
                  <a:pt x="305951" y="220540"/>
                  <a:pt x="287735" y="202325"/>
                  <a:pt x="287735" y="180466"/>
                </a:cubicBezTo>
                <a:cubicBezTo>
                  <a:pt x="287735" y="157933"/>
                  <a:pt x="305816" y="139582"/>
                  <a:pt x="328349" y="139582"/>
                </a:cubicBezTo>
                <a:cubicBezTo>
                  <a:pt x="350748" y="139582"/>
                  <a:pt x="368964" y="157798"/>
                  <a:pt x="368964" y="180466"/>
                </a:cubicBezTo>
                <a:cubicBezTo>
                  <a:pt x="368829" y="202325"/>
                  <a:pt x="350748" y="220540"/>
                  <a:pt x="328349" y="220540"/>
                </a:cubicBezTo>
                <a:lnTo>
                  <a:pt x="328349" y="220540"/>
                </a:lnTo>
                <a:close/>
                <a:moveTo>
                  <a:pt x="274377" y="248606"/>
                </a:moveTo>
                <a:cubicBezTo>
                  <a:pt x="286116" y="231739"/>
                  <a:pt x="305546" y="220675"/>
                  <a:pt x="327540" y="220675"/>
                </a:cubicBezTo>
                <a:cubicBezTo>
                  <a:pt x="363701" y="220675"/>
                  <a:pt x="392711" y="250630"/>
                  <a:pt x="392711" y="287061"/>
                </a:cubicBezTo>
                <a:lnTo>
                  <a:pt x="289355" y="287061"/>
                </a:lnTo>
                <a:moveTo>
                  <a:pt x="110167" y="220540"/>
                </a:moveTo>
                <a:cubicBezTo>
                  <a:pt x="87769" y="220540"/>
                  <a:pt x="69553" y="202325"/>
                  <a:pt x="69553" y="180466"/>
                </a:cubicBezTo>
                <a:cubicBezTo>
                  <a:pt x="69553" y="157933"/>
                  <a:pt x="87634" y="139582"/>
                  <a:pt x="110167" y="139582"/>
                </a:cubicBezTo>
                <a:cubicBezTo>
                  <a:pt x="132701" y="139582"/>
                  <a:pt x="150781" y="157798"/>
                  <a:pt x="150781" y="180466"/>
                </a:cubicBezTo>
                <a:cubicBezTo>
                  <a:pt x="150781" y="202325"/>
                  <a:pt x="132566" y="220540"/>
                  <a:pt x="110167" y="220540"/>
                </a:cubicBezTo>
                <a:lnTo>
                  <a:pt x="110167" y="220540"/>
                </a:lnTo>
                <a:close/>
                <a:moveTo>
                  <a:pt x="149432" y="286926"/>
                </a:moveTo>
                <a:lnTo>
                  <a:pt x="44321" y="286926"/>
                </a:lnTo>
                <a:cubicBezTo>
                  <a:pt x="44321" y="250495"/>
                  <a:pt x="73331" y="220540"/>
                  <a:pt x="109493" y="220540"/>
                </a:cubicBezTo>
                <a:cubicBezTo>
                  <a:pt x="131891" y="220540"/>
                  <a:pt x="151456" y="232009"/>
                  <a:pt x="163195" y="24928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defTabSz="914367"/>
            <a:endParaRPr lang="en-US" sz="1765">
              <a:solidFill>
                <a:srgbClr val="3C3C41"/>
              </a:solidFill>
              <a:latin typeface="Segoe UI"/>
            </a:endParaRPr>
          </a:p>
        </p:txBody>
      </p:sp>
      <p:grpSp>
        <p:nvGrpSpPr>
          <p:cNvPr id="158" name="Group 157">
            <a:extLst>
              <a:ext uri="{FF2B5EF4-FFF2-40B4-BE49-F238E27FC236}">
                <a16:creationId xmlns:a16="http://schemas.microsoft.com/office/drawing/2014/main" id="{C0A5C117-5BF5-4F02-8EE7-659F036B3780}"/>
              </a:ext>
            </a:extLst>
          </p:cNvPr>
          <p:cNvGrpSpPr/>
          <p:nvPr/>
        </p:nvGrpSpPr>
        <p:grpSpPr>
          <a:xfrm>
            <a:off x="8027531" y="5697024"/>
            <a:ext cx="464729" cy="466933"/>
            <a:chOff x="7992532" y="5501597"/>
            <a:chExt cx="474048" cy="476296"/>
          </a:xfrm>
        </p:grpSpPr>
        <p:sp>
          <p:nvSpPr>
            <p:cNvPr id="154" name="Warning_E7BA" title="Icon of a triangle with an exclaimation point inside">
              <a:extLst>
                <a:ext uri="{FF2B5EF4-FFF2-40B4-BE49-F238E27FC236}">
                  <a16:creationId xmlns:a16="http://schemas.microsoft.com/office/drawing/2014/main" id="{45C44EE3-CB43-4A87-B89E-8BB6154B1020}"/>
                </a:ext>
              </a:extLst>
            </p:cNvPr>
            <p:cNvSpPr>
              <a:spLocks noChangeAspect="1" noEditPoints="1"/>
            </p:cNvSpPr>
            <p:nvPr/>
          </p:nvSpPr>
          <p:spPr bwMode="auto">
            <a:xfrm>
              <a:off x="8143627" y="5653772"/>
              <a:ext cx="171859" cy="171946"/>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lin ang="5400000" scaled="1"/>
                </a:gradFill>
                <a:latin typeface="Segoe UI"/>
              </a:endParaRPr>
            </a:p>
          </p:txBody>
        </p:sp>
        <p:sp>
          <p:nvSpPr>
            <p:cNvPr id="156" name="Freeform: Shape 155">
              <a:extLst>
                <a:ext uri="{FF2B5EF4-FFF2-40B4-BE49-F238E27FC236}">
                  <a16:creationId xmlns:a16="http://schemas.microsoft.com/office/drawing/2014/main" id="{1B48BFAE-80FD-4C8B-A852-31AB9D3482C7}"/>
                </a:ext>
              </a:extLst>
            </p:cNvPr>
            <p:cNvSpPr/>
            <p:nvPr/>
          </p:nvSpPr>
          <p:spPr>
            <a:xfrm>
              <a:off x="7992532" y="5501597"/>
              <a:ext cx="474048" cy="476296"/>
            </a:xfrm>
            <a:custGeom>
              <a:avLst/>
              <a:gdLst>
                <a:gd name="connsiteX0" fmla="*/ 623221 w 642746"/>
                <a:gd name="connsiteY0" fmla="*/ 269653 h 645794"/>
                <a:gd name="connsiteX1" fmla="*/ 564642 w 642746"/>
                <a:gd name="connsiteY1" fmla="*/ 259271 h 645794"/>
                <a:gd name="connsiteX2" fmla="*/ 538258 w 642746"/>
                <a:gd name="connsiteY2" fmla="*/ 194501 h 645794"/>
                <a:gd name="connsiteX3" fmla="*/ 573881 w 642746"/>
                <a:gd name="connsiteY3" fmla="*/ 144780 h 645794"/>
                <a:gd name="connsiteX4" fmla="*/ 571595 w 642746"/>
                <a:gd name="connsiteY4" fmla="*/ 114681 h 645794"/>
                <a:gd name="connsiteX5" fmla="*/ 548640 w 642746"/>
                <a:gd name="connsiteY5" fmla="*/ 93821 h 645794"/>
                <a:gd name="connsiteX6" fmla="*/ 527971 w 642746"/>
                <a:gd name="connsiteY6" fmla="*/ 72962 h 645794"/>
                <a:gd name="connsiteX7" fmla="*/ 498158 w 642746"/>
                <a:gd name="connsiteY7" fmla="*/ 70676 h 645794"/>
                <a:gd name="connsiteX8" fmla="*/ 448818 w 642746"/>
                <a:gd name="connsiteY8" fmla="*/ 106585 h 645794"/>
                <a:gd name="connsiteX9" fmla="*/ 384524 w 642746"/>
                <a:gd name="connsiteY9" fmla="*/ 80010 h 645794"/>
                <a:gd name="connsiteX10" fmla="*/ 374237 w 642746"/>
                <a:gd name="connsiteY10" fmla="*/ 19717 h 645794"/>
                <a:gd name="connsiteX11" fmla="*/ 351282 w 642746"/>
                <a:gd name="connsiteY11" fmla="*/ 0 h 645794"/>
                <a:gd name="connsiteX12" fmla="*/ 321469 w 642746"/>
                <a:gd name="connsiteY12" fmla="*/ 0 h 645794"/>
                <a:gd name="connsiteX13" fmla="*/ 291656 w 642746"/>
                <a:gd name="connsiteY13" fmla="*/ 0 h 645794"/>
                <a:gd name="connsiteX14" fmla="*/ 268700 w 642746"/>
                <a:gd name="connsiteY14" fmla="*/ 19717 h 645794"/>
                <a:gd name="connsiteX15" fmla="*/ 258318 w 642746"/>
                <a:gd name="connsiteY15" fmla="*/ 79915 h 645794"/>
                <a:gd name="connsiteX16" fmla="*/ 192881 w 642746"/>
                <a:gd name="connsiteY16" fmla="*/ 107728 h 645794"/>
                <a:gd name="connsiteX17" fmla="*/ 143542 w 642746"/>
                <a:gd name="connsiteY17" fmla="*/ 72962 h 645794"/>
                <a:gd name="connsiteX18" fmla="*/ 113729 w 642746"/>
                <a:gd name="connsiteY18" fmla="*/ 75248 h 645794"/>
                <a:gd name="connsiteX19" fmla="*/ 94202 w 642746"/>
                <a:gd name="connsiteY19" fmla="*/ 96107 h 645794"/>
                <a:gd name="connsiteX20" fmla="*/ 73533 w 642746"/>
                <a:gd name="connsiteY20" fmla="*/ 116967 h 645794"/>
                <a:gd name="connsiteX21" fmla="*/ 71247 w 642746"/>
                <a:gd name="connsiteY21" fmla="*/ 147066 h 645794"/>
                <a:gd name="connsiteX22" fmla="*/ 105632 w 642746"/>
                <a:gd name="connsiteY22" fmla="*/ 198025 h 645794"/>
                <a:gd name="connsiteX23" fmla="*/ 79248 w 642746"/>
                <a:gd name="connsiteY23" fmla="*/ 262795 h 645794"/>
                <a:gd name="connsiteX24" fmla="*/ 19526 w 642746"/>
                <a:gd name="connsiteY24" fmla="*/ 272034 h 645794"/>
                <a:gd name="connsiteX25" fmla="*/ 0 w 642746"/>
                <a:gd name="connsiteY25" fmla="*/ 295180 h 645794"/>
                <a:gd name="connsiteX26" fmla="*/ 0 w 642746"/>
                <a:gd name="connsiteY26" fmla="*/ 325279 h 645794"/>
                <a:gd name="connsiteX27" fmla="*/ 0 w 642746"/>
                <a:gd name="connsiteY27" fmla="*/ 355378 h 645794"/>
                <a:gd name="connsiteX28" fmla="*/ 19526 w 642746"/>
                <a:gd name="connsiteY28" fmla="*/ 378524 h 645794"/>
                <a:gd name="connsiteX29" fmla="*/ 79248 w 642746"/>
                <a:gd name="connsiteY29" fmla="*/ 388906 h 645794"/>
                <a:gd name="connsiteX30" fmla="*/ 106775 w 642746"/>
                <a:gd name="connsiteY30" fmla="*/ 453676 h 645794"/>
                <a:gd name="connsiteX31" fmla="*/ 72390 w 642746"/>
                <a:gd name="connsiteY31" fmla="*/ 503396 h 645794"/>
                <a:gd name="connsiteX32" fmla="*/ 75819 w 642746"/>
                <a:gd name="connsiteY32" fmla="*/ 531209 h 645794"/>
                <a:gd name="connsiteX33" fmla="*/ 96488 w 642746"/>
                <a:gd name="connsiteY33" fmla="*/ 552069 h 645794"/>
                <a:gd name="connsiteX34" fmla="*/ 117158 w 642746"/>
                <a:gd name="connsiteY34" fmla="*/ 572929 h 645794"/>
                <a:gd name="connsiteX35" fmla="*/ 146971 w 642746"/>
                <a:gd name="connsiteY35" fmla="*/ 575215 h 645794"/>
                <a:gd name="connsiteX36" fmla="*/ 196310 w 642746"/>
                <a:gd name="connsiteY36" fmla="*/ 539306 h 645794"/>
                <a:gd name="connsiteX37" fmla="*/ 260604 w 642746"/>
                <a:gd name="connsiteY37" fmla="*/ 565880 h 645794"/>
                <a:gd name="connsiteX38" fmla="*/ 270891 w 642746"/>
                <a:gd name="connsiteY38" fmla="*/ 626078 h 645794"/>
                <a:gd name="connsiteX39" fmla="*/ 293846 w 642746"/>
                <a:gd name="connsiteY39" fmla="*/ 645795 h 645794"/>
                <a:gd name="connsiteX40" fmla="*/ 323660 w 642746"/>
                <a:gd name="connsiteY40" fmla="*/ 645795 h 645794"/>
                <a:gd name="connsiteX41" fmla="*/ 353473 w 642746"/>
                <a:gd name="connsiteY41" fmla="*/ 645795 h 645794"/>
                <a:gd name="connsiteX42" fmla="*/ 376428 w 642746"/>
                <a:gd name="connsiteY42" fmla="*/ 626078 h 645794"/>
                <a:gd name="connsiteX43" fmla="*/ 386715 w 642746"/>
                <a:gd name="connsiteY43" fmla="*/ 565880 h 645794"/>
                <a:gd name="connsiteX44" fmla="*/ 449866 w 642746"/>
                <a:gd name="connsiteY44" fmla="*/ 539306 h 645794"/>
                <a:gd name="connsiteX45" fmla="*/ 499205 w 642746"/>
                <a:gd name="connsiteY45" fmla="*/ 575215 h 645794"/>
                <a:gd name="connsiteX46" fmla="*/ 529019 w 642746"/>
                <a:gd name="connsiteY46" fmla="*/ 572929 h 645794"/>
                <a:gd name="connsiteX47" fmla="*/ 549688 w 642746"/>
                <a:gd name="connsiteY47" fmla="*/ 552069 h 645794"/>
                <a:gd name="connsiteX48" fmla="*/ 570357 w 642746"/>
                <a:gd name="connsiteY48" fmla="*/ 531209 h 645794"/>
                <a:gd name="connsiteX49" fmla="*/ 572643 w 642746"/>
                <a:gd name="connsiteY49" fmla="*/ 501110 h 645794"/>
                <a:gd name="connsiteX50" fmla="*/ 537020 w 642746"/>
                <a:gd name="connsiteY50" fmla="*/ 451390 h 645794"/>
                <a:gd name="connsiteX51" fmla="*/ 563404 w 642746"/>
                <a:gd name="connsiteY51" fmla="*/ 386620 h 645794"/>
                <a:gd name="connsiteX52" fmla="*/ 623221 w 642746"/>
                <a:gd name="connsiteY52" fmla="*/ 376142 h 645794"/>
                <a:gd name="connsiteX53" fmla="*/ 642747 w 642746"/>
                <a:gd name="connsiteY53" fmla="*/ 352997 h 645794"/>
                <a:gd name="connsiteX54" fmla="*/ 642747 w 642746"/>
                <a:gd name="connsiteY54" fmla="*/ 322898 h 645794"/>
                <a:gd name="connsiteX55" fmla="*/ 642747 w 642746"/>
                <a:gd name="connsiteY55" fmla="*/ 292799 h 645794"/>
                <a:gd name="connsiteX56" fmla="*/ 623221 w 642746"/>
                <a:gd name="connsiteY56" fmla="*/ 269653 h 64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42746" h="645794">
                  <a:moveTo>
                    <a:pt x="623221" y="269653"/>
                  </a:moveTo>
                  <a:lnTo>
                    <a:pt x="564642" y="259271"/>
                  </a:lnTo>
                  <a:cubicBezTo>
                    <a:pt x="558927" y="236125"/>
                    <a:pt x="549688" y="215265"/>
                    <a:pt x="538258" y="194501"/>
                  </a:cubicBezTo>
                  <a:lnTo>
                    <a:pt x="573881" y="144780"/>
                  </a:lnTo>
                  <a:cubicBezTo>
                    <a:pt x="580739" y="135541"/>
                    <a:pt x="579596" y="122777"/>
                    <a:pt x="571595" y="114681"/>
                  </a:cubicBezTo>
                  <a:lnTo>
                    <a:pt x="548640" y="93821"/>
                  </a:lnTo>
                  <a:lnTo>
                    <a:pt x="527971" y="72962"/>
                  </a:lnTo>
                  <a:cubicBezTo>
                    <a:pt x="519970" y="66008"/>
                    <a:pt x="507302" y="64865"/>
                    <a:pt x="498158" y="70676"/>
                  </a:cubicBezTo>
                  <a:lnTo>
                    <a:pt x="448818" y="106585"/>
                  </a:lnTo>
                  <a:cubicBezTo>
                    <a:pt x="428149" y="95060"/>
                    <a:pt x="406336" y="85725"/>
                    <a:pt x="384524" y="80010"/>
                  </a:cubicBezTo>
                  <a:lnTo>
                    <a:pt x="374237" y="19717"/>
                  </a:lnTo>
                  <a:cubicBezTo>
                    <a:pt x="371951" y="8096"/>
                    <a:pt x="362807" y="0"/>
                    <a:pt x="351282" y="0"/>
                  </a:cubicBezTo>
                  <a:lnTo>
                    <a:pt x="321469" y="0"/>
                  </a:lnTo>
                  <a:lnTo>
                    <a:pt x="291656" y="0"/>
                  </a:lnTo>
                  <a:cubicBezTo>
                    <a:pt x="280226" y="0"/>
                    <a:pt x="270986" y="8096"/>
                    <a:pt x="268700" y="19717"/>
                  </a:cubicBezTo>
                  <a:lnTo>
                    <a:pt x="258318" y="79915"/>
                  </a:lnTo>
                  <a:cubicBezTo>
                    <a:pt x="235363" y="85725"/>
                    <a:pt x="213551" y="94964"/>
                    <a:pt x="192881" y="107728"/>
                  </a:cubicBezTo>
                  <a:lnTo>
                    <a:pt x="143542" y="72962"/>
                  </a:lnTo>
                  <a:cubicBezTo>
                    <a:pt x="134398" y="66008"/>
                    <a:pt x="121730" y="67151"/>
                    <a:pt x="113729" y="75248"/>
                  </a:cubicBezTo>
                  <a:lnTo>
                    <a:pt x="94202" y="96107"/>
                  </a:lnTo>
                  <a:lnTo>
                    <a:pt x="73533" y="116967"/>
                  </a:lnTo>
                  <a:cubicBezTo>
                    <a:pt x="65532" y="125063"/>
                    <a:pt x="64389" y="137827"/>
                    <a:pt x="71247" y="147066"/>
                  </a:cubicBezTo>
                  <a:lnTo>
                    <a:pt x="105632" y="198025"/>
                  </a:lnTo>
                  <a:cubicBezTo>
                    <a:pt x="94107" y="218885"/>
                    <a:pt x="84963" y="240887"/>
                    <a:pt x="79248" y="262795"/>
                  </a:cubicBezTo>
                  <a:lnTo>
                    <a:pt x="19526" y="272034"/>
                  </a:lnTo>
                  <a:cubicBezTo>
                    <a:pt x="8096" y="274320"/>
                    <a:pt x="0" y="283559"/>
                    <a:pt x="0" y="295180"/>
                  </a:cubicBezTo>
                  <a:lnTo>
                    <a:pt x="0" y="325279"/>
                  </a:lnTo>
                  <a:lnTo>
                    <a:pt x="0" y="355378"/>
                  </a:lnTo>
                  <a:cubicBezTo>
                    <a:pt x="0" y="366998"/>
                    <a:pt x="8001" y="376237"/>
                    <a:pt x="19526" y="378524"/>
                  </a:cubicBezTo>
                  <a:lnTo>
                    <a:pt x="79248" y="388906"/>
                  </a:lnTo>
                  <a:cubicBezTo>
                    <a:pt x="84963" y="410909"/>
                    <a:pt x="94202" y="432911"/>
                    <a:pt x="106775" y="453676"/>
                  </a:cubicBezTo>
                  <a:lnTo>
                    <a:pt x="72390" y="503396"/>
                  </a:lnTo>
                  <a:cubicBezTo>
                    <a:pt x="66675" y="510350"/>
                    <a:pt x="67818" y="523113"/>
                    <a:pt x="75819" y="531209"/>
                  </a:cubicBezTo>
                  <a:lnTo>
                    <a:pt x="96488" y="552069"/>
                  </a:lnTo>
                  <a:lnTo>
                    <a:pt x="117158" y="572929"/>
                  </a:lnTo>
                  <a:cubicBezTo>
                    <a:pt x="125159" y="581025"/>
                    <a:pt x="137827" y="582168"/>
                    <a:pt x="146971" y="575215"/>
                  </a:cubicBezTo>
                  <a:lnTo>
                    <a:pt x="196310" y="539306"/>
                  </a:lnTo>
                  <a:cubicBezTo>
                    <a:pt x="216980" y="550831"/>
                    <a:pt x="238792" y="560165"/>
                    <a:pt x="260604" y="565880"/>
                  </a:cubicBezTo>
                  <a:lnTo>
                    <a:pt x="270891" y="626078"/>
                  </a:lnTo>
                  <a:cubicBezTo>
                    <a:pt x="273177" y="637699"/>
                    <a:pt x="282321" y="645795"/>
                    <a:pt x="293846" y="645795"/>
                  </a:cubicBezTo>
                  <a:lnTo>
                    <a:pt x="323660" y="645795"/>
                  </a:lnTo>
                  <a:lnTo>
                    <a:pt x="353473" y="645795"/>
                  </a:lnTo>
                  <a:cubicBezTo>
                    <a:pt x="364903" y="645795"/>
                    <a:pt x="374142" y="637699"/>
                    <a:pt x="376428" y="626078"/>
                  </a:cubicBezTo>
                  <a:lnTo>
                    <a:pt x="386715" y="565880"/>
                  </a:lnTo>
                  <a:cubicBezTo>
                    <a:pt x="408527" y="560070"/>
                    <a:pt x="430340" y="550831"/>
                    <a:pt x="449866" y="539306"/>
                  </a:cubicBezTo>
                  <a:lnTo>
                    <a:pt x="499205" y="575215"/>
                  </a:lnTo>
                  <a:cubicBezTo>
                    <a:pt x="508349" y="582168"/>
                    <a:pt x="521018" y="581025"/>
                    <a:pt x="529019" y="572929"/>
                  </a:cubicBezTo>
                  <a:lnTo>
                    <a:pt x="549688" y="552069"/>
                  </a:lnTo>
                  <a:lnTo>
                    <a:pt x="570357" y="531209"/>
                  </a:lnTo>
                  <a:cubicBezTo>
                    <a:pt x="578358" y="523113"/>
                    <a:pt x="579501" y="510350"/>
                    <a:pt x="572643" y="501110"/>
                  </a:cubicBezTo>
                  <a:lnTo>
                    <a:pt x="537020" y="451390"/>
                  </a:lnTo>
                  <a:cubicBezTo>
                    <a:pt x="548450" y="430530"/>
                    <a:pt x="557689" y="408527"/>
                    <a:pt x="563404" y="386620"/>
                  </a:cubicBezTo>
                  <a:lnTo>
                    <a:pt x="623221" y="376142"/>
                  </a:lnTo>
                  <a:cubicBezTo>
                    <a:pt x="634651" y="373856"/>
                    <a:pt x="642747" y="364617"/>
                    <a:pt x="642747" y="352997"/>
                  </a:cubicBezTo>
                  <a:lnTo>
                    <a:pt x="642747" y="322898"/>
                  </a:lnTo>
                  <a:lnTo>
                    <a:pt x="642747" y="292799"/>
                  </a:lnTo>
                  <a:cubicBezTo>
                    <a:pt x="642747" y="281273"/>
                    <a:pt x="634746" y="272034"/>
                    <a:pt x="623221" y="269653"/>
                  </a:cubicBezTo>
                  <a:close/>
                </a:path>
              </a:pathLst>
            </a:custGeom>
            <a:noFill/>
            <a:ln w="15875" cap="sq">
              <a:solidFill>
                <a:schemeClr val="tx1"/>
              </a:solidFill>
              <a:prstDash val="solid"/>
              <a:miter/>
            </a:ln>
          </p:spPr>
          <p:txBody>
            <a:bodyPr rtlCol="0" anchor="ctr"/>
            <a:lstStyle/>
            <a:p>
              <a:pPr defTabSz="914367"/>
              <a:endParaRPr lang="en-IN" sz="1765">
                <a:solidFill>
                  <a:srgbClr val="3C3C41"/>
                </a:solidFill>
                <a:latin typeface="Segoe UI"/>
              </a:endParaRPr>
            </a:p>
          </p:txBody>
        </p:sp>
      </p:grpSp>
    </p:spTree>
    <p:extLst>
      <p:ext uri="{BB962C8B-B14F-4D97-AF65-F5344CB8AC3E}">
        <p14:creationId xmlns:p14="http://schemas.microsoft.com/office/powerpoint/2010/main" val="2176533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C4415DB2-9D89-44CD-92D1-D9FC534788E5}"/>
              </a:ext>
            </a:extLst>
          </p:cNvPr>
          <p:cNvSpPr/>
          <p:nvPr/>
        </p:nvSpPr>
        <p:spPr bwMode="auto">
          <a:xfrm>
            <a:off x="2692400" y="4546259"/>
            <a:ext cx="9499599" cy="715170"/>
          </a:xfrm>
          <a:prstGeom prst="rect">
            <a:avLst/>
          </a:prstGeom>
          <a:no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000000"/>
              </a:solidFill>
              <a:cs typeface="Segoe UI" pitchFamily="34" charset="0"/>
            </a:endParaRPr>
          </a:p>
        </p:txBody>
      </p:sp>
      <p:sp>
        <p:nvSpPr>
          <p:cNvPr id="77" name="Rectangle 76">
            <a:extLst>
              <a:ext uri="{FF2B5EF4-FFF2-40B4-BE49-F238E27FC236}">
                <a16:creationId xmlns:a16="http://schemas.microsoft.com/office/drawing/2014/main" id="{4613192C-C580-4989-AB68-8C6184E0B1D1}"/>
              </a:ext>
            </a:extLst>
          </p:cNvPr>
          <p:cNvSpPr/>
          <p:nvPr/>
        </p:nvSpPr>
        <p:spPr bwMode="auto">
          <a:xfrm>
            <a:off x="2692400" y="5574959"/>
            <a:ext cx="9499599" cy="715170"/>
          </a:xfrm>
          <a:prstGeom prst="rect">
            <a:avLst/>
          </a:prstGeom>
          <a:noFill/>
          <a:ln w="317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000000"/>
              </a:solidFill>
              <a:cs typeface="Segoe UI" pitchFamily="34" charset="0"/>
            </a:endParaRPr>
          </a:p>
        </p:txBody>
      </p:sp>
      <p:sp>
        <p:nvSpPr>
          <p:cNvPr id="22" name="Freeform: Shape 21">
            <a:extLst>
              <a:ext uri="{FF2B5EF4-FFF2-40B4-BE49-F238E27FC236}">
                <a16:creationId xmlns:a16="http://schemas.microsoft.com/office/drawing/2014/main" id="{F7626BBD-DB88-483B-8A2B-EE2AD1A475AC}"/>
              </a:ext>
            </a:extLst>
          </p:cNvPr>
          <p:cNvSpPr/>
          <p:nvPr/>
        </p:nvSpPr>
        <p:spPr bwMode="auto">
          <a:xfrm>
            <a:off x="178952" y="-139699"/>
            <a:ext cx="5104248" cy="3652982"/>
          </a:xfrm>
          <a:custGeom>
            <a:avLst/>
            <a:gdLst>
              <a:gd name="connsiteX0" fmla="*/ 0 w 6562724"/>
              <a:gd name="connsiteY0" fmla="*/ 0 h 4696776"/>
              <a:gd name="connsiteX1" fmla="*/ 6562724 w 6562724"/>
              <a:gd name="connsiteY1" fmla="*/ 0 h 4696776"/>
              <a:gd name="connsiteX2" fmla="*/ 1865948 w 6562724"/>
              <a:gd name="connsiteY2" fmla="*/ 4696776 h 4696776"/>
              <a:gd name="connsiteX3" fmla="*/ 0 w 6562724"/>
              <a:gd name="connsiteY3" fmla="*/ 2830828 h 4696776"/>
            </a:gdLst>
            <a:ahLst/>
            <a:cxnLst>
              <a:cxn ang="0">
                <a:pos x="connsiteX0" y="connsiteY0"/>
              </a:cxn>
              <a:cxn ang="0">
                <a:pos x="connsiteX1" y="connsiteY1"/>
              </a:cxn>
              <a:cxn ang="0">
                <a:pos x="connsiteX2" y="connsiteY2"/>
              </a:cxn>
              <a:cxn ang="0">
                <a:pos x="connsiteX3" y="connsiteY3"/>
              </a:cxn>
            </a:cxnLst>
            <a:rect l="l" t="t" r="r" b="b"/>
            <a:pathLst>
              <a:path w="6562724" h="4696776">
                <a:moveTo>
                  <a:pt x="0" y="0"/>
                </a:moveTo>
                <a:lnTo>
                  <a:pt x="6562724" y="0"/>
                </a:lnTo>
                <a:lnTo>
                  <a:pt x="1865948" y="4696776"/>
                </a:lnTo>
                <a:lnTo>
                  <a:pt x="0" y="2830828"/>
                </a:lnTo>
                <a:close/>
              </a:path>
            </a:pathLst>
          </a:custGeom>
          <a:no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25" name="Freeform: Shape 24">
            <a:extLst>
              <a:ext uri="{FF2B5EF4-FFF2-40B4-BE49-F238E27FC236}">
                <a16:creationId xmlns:a16="http://schemas.microsoft.com/office/drawing/2014/main" id="{855D8A2B-45C9-4917-A6B2-DA66CC4C3215}"/>
              </a:ext>
            </a:extLst>
          </p:cNvPr>
          <p:cNvSpPr/>
          <p:nvPr/>
        </p:nvSpPr>
        <p:spPr bwMode="auto">
          <a:xfrm>
            <a:off x="1" y="-16670"/>
            <a:ext cx="4932342" cy="3529953"/>
          </a:xfrm>
          <a:custGeom>
            <a:avLst/>
            <a:gdLst>
              <a:gd name="connsiteX0" fmla="*/ 0 w 6562724"/>
              <a:gd name="connsiteY0" fmla="*/ 0 h 4696776"/>
              <a:gd name="connsiteX1" fmla="*/ 6562724 w 6562724"/>
              <a:gd name="connsiteY1" fmla="*/ 0 h 4696776"/>
              <a:gd name="connsiteX2" fmla="*/ 1865948 w 6562724"/>
              <a:gd name="connsiteY2" fmla="*/ 4696776 h 4696776"/>
              <a:gd name="connsiteX3" fmla="*/ 0 w 6562724"/>
              <a:gd name="connsiteY3" fmla="*/ 2830828 h 4696776"/>
            </a:gdLst>
            <a:ahLst/>
            <a:cxnLst>
              <a:cxn ang="0">
                <a:pos x="connsiteX0" y="connsiteY0"/>
              </a:cxn>
              <a:cxn ang="0">
                <a:pos x="connsiteX1" y="connsiteY1"/>
              </a:cxn>
              <a:cxn ang="0">
                <a:pos x="connsiteX2" y="connsiteY2"/>
              </a:cxn>
              <a:cxn ang="0">
                <a:pos x="connsiteX3" y="connsiteY3"/>
              </a:cxn>
            </a:cxnLst>
            <a:rect l="l" t="t" r="r" b="b"/>
            <a:pathLst>
              <a:path w="6562724" h="4696776">
                <a:moveTo>
                  <a:pt x="0" y="0"/>
                </a:moveTo>
                <a:lnTo>
                  <a:pt x="6562724" y="0"/>
                </a:lnTo>
                <a:lnTo>
                  <a:pt x="1865948" y="4696776"/>
                </a:lnTo>
                <a:lnTo>
                  <a:pt x="0" y="2830828"/>
                </a:lnTo>
                <a:close/>
              </a:path>
            </a:pathLst>
          </a:cu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cs typeface="Segoe UI" pitchFamily="34" charset="0"/>
            </a:endParaRPr>
          </a:p>
        </p:txBody>
      </p:sp>
      <p:sp>
        <p:nvSpPr>
          <p:cNvPr id="9" name="Title 8">
            <a:extLst>
              <a:ext uri="{FF2B5EF4-FFF2-40B4-BE49-F238E27FC236}">
                <a16:creationId xmlns:a16="http://schemas.microsoft.com/office/drawing/2014/main" id="{5B55202C-E7D7-42E3-ADBB-384575A07DA2}"/>
              </a:ext>
            </a:extLst>
          </p:cNvPr>
          <p:cNvSpPr>
            <a:spLocks noGrp="1"/>
          </p:cNvSpPr>
          <p:nvPr>
            <p:ph type="title"/>
          </p:nvPr>
        </p:nvSpPr>
        <p:spPr>
          <a:xfrm>
            <a:off x="463615" y="475648"/>
            <a:ext cx="3143185" cy="492443"/>
          </a:xfrm>
          <a:noFill/>
        </p:spPr>
        <p:txBody>
          <a:bodyPr/>
          <a:lstStyle/>
          <a:p>
            <a:r>
              <a:rPr lang="en-IN" dirty="0">
                <a:solidFill>
                  <a:schemeClr val="bg1"/>
                </a:solidFill>
              </a:rPr>
              <a:t>Governance – Practically Applied</a:t>
            </a:r>
          </a:p>
        </p:txBody>
      </p:sp>
      <p:grpSp>
        <p:nvGrpSpPr>
          <p:cNvPr id="31" name="Group 30">
            <a:extLst>
              <a:ext uri="{FF2B5EF4-FFF2-40B4-BE49-F238E27FC236}">
                <a16:creationId xmlns:a16="http://schemas.microsoft.com/office/drawing/2014/main" id="{DA0FF26F-E7CD-4C47-8874-763375B6F8BB}"/>
              </a:ext>
            </a:extLst>
          </p:cNvPr>
          <p:cNvGrpSpPr/>
          <p:nvPr/>
        </p:nvGrpSpPr>
        <p:grpSpPr>
          <a:xfrm>
            <a:off x="2945601" y="2310765"/>
            <a:ext cx="9067446" cy="2235494"/>
            <a:chOff x="2657264" y="1447800"/>
            <a:chExt cx="9364160" cy="754063"/>
          </a:xfrm>
          <a:noFill/>
        </p:grpSpPr>
        <p:sp>
          <p:nvSpPr>
            <p:cNvPr id="32" name="Rectangle 31">
              <a:extLst>
                <a:ext uri="{FF2B5EF4-FFF2-40B4-BE49-F238E27FC236}">
                  <a16:creationId xmlns:a16="http://schemas.microsoft.com/office/drawing/2014/main" id="{E33E6580-DDC2-4FA7-A49F-D412ADEC839F}"/>
                </a:ext>
              </a:extLst>
            </p:cNvPr>
            <p:cNvSpPr/>
            <p:nvPr/>
          </p:nvSpPr>
          <p:spPr bwMode="auto">
            <a:xfrm>
              <a:off x="2657264" y="1447800"/>
              <a:ext cx="3460963" cy="7540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Aft>
                  <a:spcPts val="800"/>
                </a:spcAft>
              </a:pPr>
              <a:r>
                <a:rPr lang="en-US" sz="1400" dirty="0">
                  <a:solidFill>
                    <a:schemeClr val="tx1"/>
                  </a:solidFill>
                </a:rPr>
                <a:t>Set up Azure AD conditional access</a:t>
              </a:r>
            </a:p>
            <a:p>
              <a:pPr algn="ctr">
                <a:spcAft>
                  <a:spcPts val="800"/>
                </a:spcAft>
              </a:pPr>
              <a:r>
                <a:rPr lang="en-US" sz="1400" dirty="0">
                  <a:solidFill>
                    <a:schemeClr val="tx1"/>
                  </a:solidFill>
                </a:rPr>
                <a:t>Enable cross-tenant isolation</a:t>
              </a:r>
            </a:p>
            <a:p>
              <a:pPr algn="ctr">
                <a:spcAft>
                  <a:spcPts val="800"/>
                </a:spcAft>
              </a:pPr>
              <a:r>
                <a:rPr lang="en-US" sz="1400" dirty="0">
                  <a:solidFill>
                    <a:schemeClr val="tx1"/>
                  </a:solidFill>
                </a:rPr>
                <a:t>Configure data loss prevention policies</a:t>
              </a:r>
            </a:p>
            <a:p>
              <a:pPr algn="ctr">
                <a:spcAft>
                  <a:spcPts val="800"/>
                </a:spcAft>
              </a:pPr>
              <a:r>
                <a:rPr lang="en-US" sz="1400" dirty="0">
                  <a:solidFill>
                    <a:schemeClr val="tx1"/>
                  </a:solidFill>
                </a:rPr>
                <a:t>Define your environment strategy</a:t>
              </a:r>
            </a:p>
            <a:p>
              <a:pPr algn="ctr">
                <a:spcAft>
                  <a:spcPts val="800"/>
                </a:spcAft>
              </a:pPr>
              <a:r>
                <a:rPr lang="en-US" sz="1400" dirty="0">
                  <a:solidFill>
                    <a:schemeClr val="tx1"/>
                  </a:solidFill>
                </a:rPr>
                <a:t>Define your data gateways strategy</a:t>
              </a:r>
            </a:p>
            <a:p>
              <a:pPr algn="ctr">
                <a:spcAft>
                  <a:spcPts val="800"/>
                </a:spcAft>
              </a:pPr>
              <a:r>
                <a:rPr lang="en-US" sz="1400" dirty="0">
                  <a:solidFill>
                    <a:schemeClr val="tx1"/>
                  </a:solidFill>
                </a:rPr>
                <a:t>Manage users and their security roles</a:t>
              </a:r>
            </a:p>
            <a:p>
              <a:pPr algn="ctr">
                <a:spcAft>
                  <a:spcPts val="800"/>
                </a:spcAft>
              </a:pPr>
              <a:r>
                <a:rPr lang="en-US" sz="1400" dirty="0">
                  <a:solidFill>
                    <a:schemeClr val="tx1"/>
                  </a:solidFill>
                </a:rPr>
                <a:t>Configure email exfiltration</a:t>
              </a:r>
            </a:p>
            <a:p>
              <a:pPr algn="ctr">
                <a:spcAft>
                  <a:spcPts val="800"/>
                </a:spcAft>
              </a:pPr>
              <a:endParaRPr lang="en-IN" sz="1600" dirty="0">
                <a:solidFill>
                  <a:schemeClr val="tx1"/>
                </a:solidFill>
              </a:endParaRPr>
            </a:p>
          </p:txBody>
        </p:sp>
        <p:sp>
          <p:nvSpPr>
            <p:cNvPr id="33" name="Rectangle 32">
              <a:extLst>
                <a:ext uri="{FF2B5EF4-FFF2-40B4-BE49-F238E27FC236}">
                  <a16:creationId xmlns:a16="http://schemas.microsoft.com/office/drawing/2014/main" id="{3D0752E1-45BA-48F9-ACEE-F2811EFFF76A}"/>
                </a:ext>
              </a:extLst>
            </p:cNvPr>
            <p:cNvSpPr/>
            <p:nvPr/>
          </p:nvSpPr>
          <p:spPr bwMode="auto">
            <a:xfrm>
              <a:off x="6159500" y="1447800"/>
              <a:ext cx="3085479" cy="7540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Aft>
                  <a:spcPts val="800"/>
                </a:spcAft>
              </a:pPr>
              <a:r>
                <a:rPr lang="en-US" sz="1400" dirty="0">
                  <a:solidFill>
                    <a:schemeClr val="tx1"/>
                  </a:solidFill>
                </a:rPr>
                <a:t>Track user access</a:t>
              </a:r>
            </a:p>
            <a:p>
              <a:pPr algn="ctr">
                <a:spcAft>
                  <a:spcPts val="800"/>
                </a:spcAft>
              </a:pPr>
              <a:r>
                <a:rPr lang="en-US" sz="1400" dirty="0">
                  <a:solidFill>
                    <a:schemeClr val="tx1"/>
                  </a:solidFill>
                </a:rPr>
                <a:t>Monitor new connectors</a:t>
              </a:r>
            </a:p>
            <a:p>
              <a:pPr algn="ctr">
                <a:spcAft>
                  <a:spcPts val="800"/>
                </a:spcAft>
              </a:pPr>
              <a:r>
                <a:rPr lang="en-US" sz="1400" dirty="0">
                  <a:solidFill>
                    <a:schemeClr val="tx1"/>
                  </a:solidFill>
                </a:rPr>
                <a:t>Report on resource usage</a:t>
              </a:r>
            </a:p>
            <a:p>
              <a:pPr algn="ctr">
                <a:spcAft>
                  <a:spcPts val="800"/>
                </a:spcAft>
              </a:pPr>
              <a:r>
                <a:rPr lang="en-US" sz="1400" dirty="0">
                  <a:solidFill>
                    <a:schemeClr val="tx1"/>
                  </a:solidFill>
                </a:rPr>
                <a:t>Monitor </a:t>
              </a:r>
              <a:r>
                <a:rPr lang="en-US" sz="1400" dirty="0" err="1">
                  <a:solidFill>
                    <a:schemeClr val="tx1"/>
                  </a:solidFill>
                </a:rPr>
                <a:t>Dataverse</a:t>
              </a:r>
              <a:r>
                <a:rPr lang="en-US" sz="1400" dirty="0">
                  <a:solidFill>
                    <a:schemeClr val="tx1"/>
                  </a:solidFill>
                </a:rPr>
                <a:t> usage</a:t>
              </a:r>
            </a:p>
            <a:p>
              <a:pPr algn="ctr">
                <a:spcAft>
                  <a:spcPts val="800"/>
                </a:spcAft>
              </a:pPr>
              <a:r>
                <a:rPr lang="en-US" sz="1400" dirty="0">
                  <a:solidFill>
                    <a:schemeClr val="tx1"/>
                  </a:solidFill>
                </a:rPr>
                <a:t>Set up sharing alerts and mitigations</a:t>
              </a:r>
            </a:p>
            <a:p>
              <a:pPr algn="ctr">
                <a:spcAft>
                  <a:spcPts val="800"/>
                </a:spcAft>
              </a:pPr>
              <a:r>
                <a:rPr lang="en-US" sz="1400" dirty="0">
                  <a:solidFill>
                    <a:schemeClr val="tx1"/>
                  </a:solidFill>
                </a:rPr>
                <a:t>Leverage audit logs from O365 pipeline</a:t>
              </a:r>
            </a:p>
          </p:txBody>
        </p:sp>
        <p:sp>
          <p:nvSpPr>
            <p:cNvPr id="34" name="Rectangle 33">
              <a:extLst>
                <a:ext uri="{FF2B5EF4-FFF2-40B4-BE49-F238E27FC236}">
                  <a16:creationId xmlns:a16="http://schemas.microsoft.com/office/drawing/2014/main" id="{E750DB01-2FCF-4A0B-992E-523A6D697476}"/>
                </a:ext>
              </a:extLst>
            </p:cNvPr>
            <p:cNvSpPr/>
            <p:nvPr/>
          </p:nvSpPr>
          <p:spPr bwMode="auto">
            <a:xfrm>
              <a:off x="9309832" y="1447800"/>
              <a:ext cx="2711592" cy="7540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Aft>
                  <a:spcPts val="800"/>
                </a:spcAft>
              </a:pPr>
              <a:r>
                <a:rPr lang="en-US" sz="1400" dirty="0">
                  <a:solidFill>
                    <a:schemeClr val="tx1"/>
                  </a:solidFill>
                </a:rPr>
                <a:t>Automate policies using management connectors</a:t>
              </a:r>
            </a:p>
            <a:p>
              <a:pPr algn="ctr">
                <a:spcAft>
                  <a:spcPts val="800"/>
                </a:spcAft>
              </a:pPr>
              <a:endParaRPr lang="en-US" sz="1400" dirty="0">
                <a:solidFill>
                  <a:schemeClr val="tx1"/>
                </a:solidFill>
              </a:endParaRPr>
            </a:p>
            <a:p>
              <a:pPr algn="ctr">
                <a:spcAft>
                  <a:spcPts val="800"/>
                </a:spcAft>
              </a:pPr>
              <a:r>
                <a:rPr lang="en-US" sz="1400" dirty="0">
                  <a:solidFill>
                    <a:schemeClr val="tx1"/>
                  </a:solidFill>
                </a:rPr>
                <a:t>Leverage admin PowerShell or admin APIs for automation</a:t>
              </a:r>
            </a:p>
            <a:p>
              <a:pPr algn="ctr">
                <a:spcAft>
                  <a:spcPts val="800"/>
                </a:spcAft>
              </a:pPr>
              <a:endParaRPr lang="en-US" sz="1600" dirty="0">
                <a:solidFill>
                  <a:schemeClr val="tx1"/>
                </a:solidFill>
              </a:endParaRPr>
            </a:p>
          </p:txBody>
        </p:sp>
      </p:grpSp>
      <p:grpSp>
        <p:nvGrpSpPr>
          <p:cNvPr id="65" name="Group 64">
            <a:extLst>
              <a:ext uri="{FF2B5EF4-FFF2-40B4-BE49-F238E27FC236}">
                <a16:creationId xmlns:a16="http://schemas.microsoft.com/office/drawing/2014/main" id="{48A0AD19-BE92-4856-8703-7C3BF3FA1A00}"/>
              </a:ext>
            </a:extLst>
          </p:cNvPr>
          <p:cNvGrpSpPr/>
          <p:nvPr/>
        </p:nvGrpSpPr>
        <p:grpSpPr>
          <a:xfrm>
            <a:off x="2945599" y="1447800"/>
            <a:ext cx="9246401" cy="754063"/>
            <a:chOff x="2945599" y="1447800"/>
            <a:chExt cx="9246401" cy="754063"/>
          </a:xfrm>
        </p:grpSpPr>
        <p:sp>
          <p:nvSpPr>
            <p:cNvPr id="38" name="Freeform: Shape 37">
              <a:extLst>
                <a:ext uri="{FF2B5EF4-FFF2-40B4-BE49-F238E27FC236}">
                  <a16:creationId xmlns:a16="http://schemas.microsoft.com/office/drawing/2014/main" id="{FDDF3E15-CDF2-40E5-8762-2033E73D4355}"/>
                </a:ext>
              </a:extLst>
            </p:cNvPr>
            <p:cNvSpPr/>
            <p:nvPr/>
          </p:nvSpPr>
          <p:spPr bwMode="auto">
            <a:xfrm>
              <a:off x="2945599" y="1447800"/>
              <a:ext cx="9246401" cy="754063"/>
            </a:xfrm>
            <a:custGeom>
              <a:avLst/>
              <a:gdLst>
                <a:gd name="connsiteX0" fmla="*/ 754063 w 9246401"/>
                <a:gd name="connsiteY0" fmla="*/ 0 h 754063"/>
                <a:gd name="connsiteX1" fmla="*/ 873131 w 9246401"/>
                <a:gd name="connsiteY1" fmla="*/ 0 h 754063"/>
                <a:gd name="connsiteX2" fmla="*/ 9127333 w 9246401"/>
                <a:gd name="connsiteY2" fmla="*/ 0 h 754063"/>
                <a:gd name="connsiteX3" fmla="*/ 9246401 w 9246401"/>
                <a:gd name="connsiteY3" fmla="*/ 0 h 754063"/>
                <a:gd name="connsiteX4" fmla="*/ 9246401 w 9246401"/>
                <a:gd name="connsiteY4" fmla="*/ 754063 h 754063"/>
                <a:gd name="connsiteX5" fmla="*/ 9127333 w 9246401"/>
                <a:gd name="connsiteY5" fmla="*/ 754063 h 754063"/>
                <a:gd name="connsiteX6" fmla="*/ 119068 w 9246401"/>
                <a:gd name="connsiteY6" fmla="*/ 754063 h 754063"/>
                <a:gd name="connsiteX7" fmla="*/ 0 w 9246401"/>
                <a:gd name="connsiteY7" fmla="*/ 754063 h 75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46401" h="754063">
                  <a:moveTo>
                    <a:pt x="754063" y="0"/>
                  </a:moveTo>
                  <a:lnTo>
                    <a:pt x="873131" y="0"/>
                  </a:lnTo>
                  <a:lnTo>
                    <a:pt x="9127333" y="0"/>
                  </a:lnTo>
                  <a:lnTo>
                    <a:pt x="9246401" y="0"/>
                  </a:lnTo>
                  <a:lnTo>
                    <a:pt x="9246401" y="754063"/>
                  </a:lnTo>
                  <a:lnTo>
                    <a:pt x="9127333" y="754063"/>
                  </a:lnTo>
                  <a:lnTo>
                    <a:pt x="119068" y="754063"/>
                  </a:lnTo>
                  <a:lnTo>
                    <a:pt x="0" y="754063"/>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58E04AC7-0D28-4A0E-A17D-B06BB80CD9F8}"/>
                </a:ext>
              </a:extLst>
            </p:cNvPr>
            <p:cNvSpPr/>
            <p:nvPr/>
          </p:nvSpPr>
          <p:spPr bwMode="auto">
            <a:xfrm>
              <a:off x="3606800" y="1447800"/>
              <a:ext cx="2690097" cy="7540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chemeClr val="tx1"/>
                  </a:solidFill>
                  <a:latin typeface="+mj-lt"/>
                </a:rPr>
                <a:t>Secure</a:t>
              </a:r>
            </a:p>
          </p:txBody>
        </p:sp>
        <p:sp>
          <p:nvSpPr>
            <p:cNvPr id="29" name="Rectangle 28">
              <a:extLst>
                <a:ext uri="{FF2B5EF4-FFF2-40B4-BE49-F238E27FC236}">
                  <a16:creationId xmlns:a16="http://schemas.microsoft.com/office/drawing/2014/main" id="{DDA028CA-9ED2-40D9-8F21-3FCE3D5B6D1E}"/>
                </a:ext>
              </a:extLst>
            </p:cNvPr>
            <p:cNvSpPr/>
            <p:nvPr/>
          </p:nvSpPr>
          <p:spPr bwMode="auto">
            <a:xfrm>
              <a:off x="6336863" y="1447800"/>
              <a:ext cx="2990016" cy="7540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latin typeface="+mj-lt"/>
                </a:rPr>
                <a:t>Monitor</a:t>
              </a:r>
            </a:p>
          </p:txBody>
        </p:sp>
        <p:sp>
          <p:nvSpPr>
            <p:cNvPr id="30" name="Rectangle 29">
              <a:extLst>
                <a:ext uri="{FF2B5EF4-FFF2-40B4-BE49-F238E27FC236}">
                  <a16:creationId xmlns:a16="http://schemas.microsoft.com/office/drawing/2014/main" id="{29EAFBA8-4612-4297-8699-F82DD91E6C10}"/>
                </a:ext>
              </a:extLst>
            </p:cNvPr>
            <p:cNvSpPr/>
            <p:nvPr/>
          </p:nvSpPr>
          <p:spPr bwMode="auto">
            <a:xfrm>
              <a:off x="9265048" y="1447800"/>
              <a:ext cx="2690097" cy="7540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solidFill>
                  <a:latin typeface="+mj-lt"/>
                </a:rPr>
                <a:t>Manage</a:t>
              </a:r>
            </a:p>
          </p:txBody>
        </p:sp>
        <p:grpSp>
          <p:nvGrpSpPr>
            <p:cNvPr id="44" name="Group 43">
              <a:extLst>
                <a:ext uri="{FF2B5EF4-FFF2-40B4-BE49-F238E27FC236}">
                  <a16:creationId xmlns:a16="http://schemas.microsoft.com/office/drawing/2014/main" id="{6CA2D7B7-962A-4F83-82BD-3B2E45F7E371}"/>
                </a:ext>
              </a:extLst>
            </p:cNvPr>
            <p:cNvGrpSpPr/>
            <p:nvPr/>
          </p:nvGrpSpPr>
          <p:grpSpPr>
            <a:xfrm>
              <a:off x="6316880" y="1552575"/>
              <a:ext cx="3034863" cy="544514"/>
              <a:chOff x="6316880" y="1447800"/>
              <a:chExt cx="3034863" cy="754063"/>
            </a:xfrm>
          </p:grpSpPr>
          <p:cxnSp>
            <p:nvCxnSpPr>
              <p:cNvPr id="39" name="Straight Connector 38">
                <a:extLst>
                  <a:ext uri="{FF2B5EF4-FFF2-40B4-BE49-F238E27FC236}">
                    <a16:creationId xmlns:a16="http://schemas.microsoft.com/office/drawing/2014/main" id="{B16C8D66-8BAB-4CE8-9108-ED1EF9896768}"/>
                  </a:ext>
                </a:extLst>
              </p:cNvPr>
              <p:cNvCxnSpPr>
                <a:cxnSpLocks/>
              </p:cNvCxnSpPr>
              <p:nvPr/>
            </p:nvCxnSpPr>
            <p:spPr>
              <a:xfrm>
                <a:off x="6316880" y="1447800"/>
                <a:ext cx="0" cy="754063"/>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BF545AB-F632-4FF9-840A-253CA9A6D877}"/>
                  </a:ext>
                </a:extLst>
              </p:cNvPr>
              <p:cNvCxnSpPr>
                <a:cxnSpLocks/>
              </p:cNvCxnSpPr>
              <p:nvPr/>
            </p:nvCxnSpPr>
            <p:spPr>
              <a:xfrm>
                <a:off x="9351743" y="1447800"/>
                <a:ext cx="0" cy="754063"/>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C71B9225-90AE-41C4-AB4D-6EBED726E056}"/>
                </a:ext>
              </a:extLst>
            </p:cNvPr>
            <p:cNvGrpSpPr/>
            <p:nvPr/>
          </p:nvGrpSpPr>
          <p:grpSpPr>
            <a:xfrm>
              <a:off x="6166067" y="1671638"/>
              <a:ext cx="306386" cy="306386"/>
              <a:chOff x="5689600" y="4792663"/>
              <a:chExt cx="612648" cy="612648"/>
            </a:xfrm>
          </p:grpSpPr>
          <p:sp>
            <p:nvSpPr>
              <p:cNvPr id="49" name="Flowchart: Connector 48">
                <a:extLst>
                  <a:ext uri="{FF2B5EF4-FFF2-40B4-BE49-F238E27FC236}">
                    <a16:creationId xmlns:a16="http://schemas.microsoft.com/office/drawing/2014/main" id="{87F8EBA3-3413-4190-BD98-DB30F35E87F0}"/>
                  </a:ext>
                </a:extLst>
              </p:cNvPr>
              <p:cNvSpPr/>
              <p:nvPr/>
            </p:nvSpPr>
            <p:spPr bwMode="auto">
              <a:xfrm>
                <a:off x="5689600" y="4792663"/>
                <a:ext cx="612648" cy="612648"/>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51">
                <a:extLst>
                  <a:ext uri="{FF2B5EF4-FFF2-40B4-BE49-F238E27FC236}">
                    <a16:creationId xmlns:a16="http://schemas.microsoft.com/office/drawing/2014/main" id="{5713F3BA-BBB0-4E14-9B93-93F69495B612}"/>
                  </a:ext>
                </a:extLst>
              </p:cNvPr>
              <p:cNvGrpSpPr/>
              <p:nvPr/>
            </p:nvGrpSpPr>
            <p:grpSpPr>
              <a:xfrm>
                <a:off x="5759400" y="4901486"/>
                <a:ext cx="473049" cy="395002"/>
                <a:chOff x="6948964" y="3789361"/>
                <a:chExt cx="343733" cy="287021"/>
              </a:xfrm>
            </p:grpSpPr>
            <p:sp>
              <p:nvSpPr>
                <p:cNvPr id="51" name="Arrow: Chevron 50">
                  <a:extLst>
                    <a:ext uri="{FF2B5EF4-FFF2-40B4-BE49-F238E27FC236}">
                      <a16:creationId xmlns:a16="http://schemas.microsoft.com/office/drawing/2014/main" id="{8A8D370E-5709-48D9-8125-4A0A88CFACC5}"/>
                    </a:ext>
                  </a:extLst>
                </p:cNvPr>
                <p:cNvSpPr/>
                <p:nvPr/>
              </p:nvSpPr>
              <p:spPr bwMode="auto">
                <a:xfrm>
                  <a:off x="6948964" y="3815239"/>
                  <a:ext cx="235268" cy="235266"/>
                </a:xfrm>
                <a:prstGeom prst="chevron">
                  <a:avLst>
                    <a:gd name="adj" fmla="val 47543"/>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0" name="Arrow: Chevron 49">
                  <a:extLst>
                    <a:ext uri="{FF2B5EF4-FFF2-40B4-BE49-F238E27FC236}">
                      <a16:creationId xmlns:a16="http://schemas.microsoft.com/office/drawing/2014/main" id="{9961D7C8-61FD-4DD7-B337-67629186DF89}"/>
                    </a:ext>
                  </a:extLst>
                </p:cNvPr>
                <p:cNvSpPr/>
                <p:nvPr/>
              </p:nvSpPr>
              <p:spPr bwMode="auto">
                <a:xfrm>
                  <a:off x="7005676" y="3789361"/>
                  <a:ext cx="287021" cy="287021"/>
                </a:xfrm>
                <a:prstGeom prst="chevron">
                  <a:avLst>
                    <a:gd name="adj" fmla="val 47543"/>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54" name="Group 53">
              <a:extLst>
                <a:ext uri="{FF2B5EF4-FFF2-40B4-BE49-F238E27FC236}">
                  <a16:creationId xmlns:a16="http://schemas.microsoft.com/office/drawing/2014/main" id="{13B5ECDA-D3F4-469E-A364-447B62B27137}"/>
                </a:ext>
              </a:extLst>
            </p:cNvPr>
            <p:cNvGrpSpPr/>
            <p:nvPr/>
          </p:nvGrpSpPr>
          <p:grpSpPr>
            <a:xfrm>
              <a:off x="9221097" y="1671638"/>
              <a:ext cx="306390" cy="306386"/>
              <a:chOff x="6344786" y="4792663"/>
              <a:chExt cx="612647" cy="612648"/>
            </a:xfrm>
          </p:grpSpPr>
          <p:sp>
            <p:nvSpPr>
              <p:cNvPr id="55" name="Flowchart: Connector 54">
                <a:extLst>
                  <a:ext uri="{FF2B5EF4-FFF2-40B4-BE49-F238E27FC236}">
                    <a16:creationId xmlns:a16="http://schemas.microsoft.com/office/drawing/2014/main" id="{F370C7E5-A091-43A7-9209-393D2C1B96AE}"/>
                  </a:ext>
                </a:extLst>
              </p:cNvPr>
              <p:cNvSpPr/>
              <p:nvPr/>
            </p:nvSpPr>
            <p:spPr bwMode="auto">
              <a:xfrm>
                <a:off x="6344786" y="4792663"/>
                <a:ext cx="612647" cy="612648"/>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6" name="Group 55">
                <a:extLst>
                  <a:ext uri="{FF2B5EF4-FFF2-40B4-BE49-F238E27FC236}">
                    <a16:creationId xmlns:a16="http://schemas.microsoft.com/office/drawing/2014/main" id="{2DC88364-F784-48BB-B949-E33BD7CD8BC7}"/>
                  </a:ext>
                </a:extLst>
              </p:cNvPr>
              <p:cNvGrpSpPr/>
              <p:nvPr/>
            </p:nvGrpSpPr>
            <p:grpSpPr>
              <a:xfrm>
                <a:off x="6353495" y="4901486"/>
                <a:ext cx="503645" cy="395002"/>
                <a:chOff x="7380652" y="3789361"/>
                <a:chExt cx="365965" cy="287021"/>
              </a:xfrm>
            </p:grpSpPr>
            <p:sp>
              <p:nvSpPr>
                <p:cNvPr id="57" name="Arrow: Chevron 56">
                  <a:extLst>
                    <a:ext uri="{FF2B5EF4-FFF2-40B4-BE49-F238E27FC236}">
                      <a16:creationId xmlns:a16="http://schemas.microsoft.com/office/drawing/2014/main" id="{6D0D7997-0844-4697-BDDA-AFA118F33CF4}"/>
                    </a:ext>
                  </a:extLst>
                </p:cNvPr>
                <p:cNvSpPr/>
                <p:nvPr/>
              </p:nvSpPr>
              <p:spPr bwMode="auto">
                <a:xfrm>
                  <a:off x="7380652" y="3815238"/>
                  <a:ext cx="235266" cy="235266"/>
                </a:xfrm>
                <a:prstGeom prst="chevron">
                  <a:avLst>
                    <a:gd name="adj" fmla="val 47543"/>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Arrow: Chevron 57">
                  <a:extLst>
                    <a:ext uri="{FF2B5EF4-FFF2-40B4-BE49-F238E27FC236}">
                      <a16:creationId xmlns:a16="http://schemas.microsoft.com/office/drawing/2014/main" id="{1FBFA282-5C1F-4AB7-91AA-ABDA043180B2}"/>
                    </a:ext>
                  </a:extLst>
                </p:cNvPr>
                <p:cNvSpPr/>
                <p:nvPr/>
              </p:nvSpPr>
              <p:spPr bwMode="auto">
                <a:xfrm>
                  <a:off x="7459597" y="3789361"/>
                  <a:ext cx="287020" cy="287021"/>
                </a:xfrm>
                <a:prstGeom prst="chevron">
                  <a:avLst>
                    <a:gd name="adj" fmla="val 47543"/>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59" name="Group 58">
            <a:extLst>
              <a:ext uri="{FF2B5EF4-FFF2-40B4-BE49-F238E27FC236}">
                <a16:creationId xmlns:a16="http://schemas.microsoft.com/office/drawing/2014/main" id="{99E8C2F0-B290-4B4C-A5D1-C55F6451BDCA}"/>
              </a:ext>
            </a:extLst>
          </p:cNvPr>
          <p:cNvGrpSpPr/>
          <p:nvPr/>
        </p:nvGrpSpPr>
        <p:grpSpPr>
          <a:xfrm>
            <a:off x="6316880" y="2310764"/>
            <a:ext cx="3027679" cy="1813559"/>
            <a:chOff x="6316880" y="1447800"/>
            <a:chExt cx="2867167" cy="754063"/>
          </a:xfrm>
        </p:grpSpPr>
        <p:cxnSp>
          <p:nvCxnSpPr>
            <p:cNvPr id="60" name="Straight Connector 59">
              <a:extLst>
                <a:ext uri="{FF2B5EF4-FFF2-40B4-BE49-F238E27FC236}">
                  <a16:creationId xmlns:a16="http://schemas.microsoft.com/office/drawing/2014/main" id="{8DF675E5-387E-4FD3-8AF4-20B8E4998738}"/>
                </a:ext>
              </a:extLst>
            </p:cNvPr>
            <p:cNvCxnSpPr>
              <a:cxnSpLocks/>
            </p:cNvCxnSpPr>
            <p:nvPr/>
          </p:nvCxnSpPr>
          <p:spPr>
            <a:xfrm>
              <a:off x="6316880" y="1447800"/>
              <a:ext cx="0" cy="754063"/>
            </a:xfrm>
            <a:prstGeom prst="line">
              <a:avLst/>
            </a:prstGeom>
            <a:ln w="6350">
              <a:solidFill>
                <a:schemeClr val="bg1">
                  <a:lumMod val="75000"/>
                </a:schemeClr>
              </a:solidFill>
              <a:prstDash val="dash"/>
              <a:headEnd type="none"/>
              <a:tailEnd type="diamon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A7FA47E-ECDF-4192-BA13-6465FE53ED1A}"/>
                </a:ext>
              </a:extLst>
            </p:cNvPr>
            <p:cNvCxnSpPr>
              <a:cxnSpLocks/>
            </p:cNvCxnSpPr>
            <p:nvPr/>
          </p:nvCxnSpPr>
          <p:spPr>
            <a:xfrm>
              <a:off x="9184047" y="1447800"/>
              <a:ext cx="0" cy="754063"/>
            </a:xfrm>
            <a:prstGeom prst="line">
              <a:avLst/>
            </a:prstGeom>
            <a:ln w="6350">
              <a:solidFill>
                <a:schemeClr val="bg1">
                  <a:lumMod val="75000"/>
                </a:schemeClr>
              </a:solidFill>
              <a:prstDash val="dash"/>
              <a:headEnd type="none"/>
              <a:tailEnd type="diamond"/>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8A7D691A-878E-4899-8367-D409D57FA273}"/>
              </a:ext>
            </a:extLst>
          </p:cNvPr>
          <p:cNvGrpSpPr/>
          <p:nvPr/>
        </p:nvGrpSpPr>
        <p:grpSpPr>
          <a:xfrm>
            <a:off x="3111500" y="4772105"/>
            <a:ext cx="8645526" cy="659718"/>
            <a:chOff x="3606800" y="5569857"/>
            <a:chExt cx="8150225" cy="754063"/>
          </a:xfrm>
        </p:grpSpPr>
        <p:sp>
          <p:nvSpPr>
            <p:cNvPr id="62" name="Rectangle 61">
              <a:extLst>
                <a:ext uri="{FF2B5EF4-FFF2-40B4-BE49-F238E27FC236}">
                  <a16:creationId xmlns:a16="http://schemas.microsoft.com/office/drawing/2014/main" id="{FAFE0276-1DAE-48CE-8630-415AA872586A}"/>
                </a:ext>
              </a:extLst>
            </p:cNvPr>
            <p:cNvSpPr/>
            <p:nvPr/>
          </p:nvSpPr>
          <p:spPr bwMode="auto">
            <a:xfrm>
              <a:off x="3606800" y="5569857"/>
              <a:ext cx="2690097" cy="7540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a:solidFill>
                    <a:schemeClr val="tx1"/>
                  </a:solidFill>
                </a:rPr>
                <a:t>Managed vs Unmanaged</a:t>
              </a:r>
            </a:p>
          </p:txBody>
        </p:sp>
        <p:sp>
          <p:nvSpPr>
            <p:cNvPr id="63" name="Rectangle 62">
              <a:extLst>
                <a:ext uri="{FF2B5EF4-FFF2-40B4-BE49-F238E27FC236}">
                  <a16:creationId xmlns:a16="http://schemas.microsoft.com/office/drawing/2014/main" id="{494630AA-AB98-496A-8A8A-E007FFA2279D}"/>
                </a:ext>
              </a:extLst>
            </p:cNvPr>
            <p:cNvSpPr/>
            <p:nvPr/>
          </p:nvSpPr>
          <p:spPr bwMode="auto">
            <a:xfrm>
              <a:off x="6336863" y="5569857"/>
              <a:ext cx="2690097" cy="7540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a:solidFill>
                    <a:schemeClr val="tx1"/>
                  </a:solidFill>
                </a:rPr>
                <a:t>Learn ALM best practices</a:t>
              </a:r>
            </a:p>
          </p:txBody>
        </p:sp>
        <p:sp>
          <p:nvSpPr>
            <p:cNvPr id="64" name="Rectangle 63">
              <a:extLst>
                <a:ext uri="{FF2B5EF4-FFF2-40B4-BE49-F238E27FC236}">
                  <a16:creationId xmlns:a16="http://schemas.microsoft.com/office/drawing/2014/main" id="{7B90B169-8113-4E88-BDA5-0A8EE157358B}"/>
                </a:ext>
              </a:extLst>
            </p:cNvPr>
            <p:cNvSpPr/>
            <p:nvPr/>
          </p:nvSpPr>
          <p:spPr bwMode="auto">
            <a:xfrm>
              <a:off x="9066928" y="5569857"/>
              <a:ext cx="2690097" cy="7540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a:solidFill>
                    <a:schemeClr val="tx1"/>
                  </a:solidFill>
                </a:rPr>
                <a:t>Automate ALM using</a:t>
              </a:r>
              <a:br>
                <a:rPr lang="en-US" sz="1400">
                  <a:solidFill>
                    <a:schemeClr val="tx1"/>
                  </a:solidFill>
                </a:rPr>
              </a:br>
              <a:r>
                <a:rPr lang="en-US" sz="1400">
                  <a:solidFill>
                    <a:schemeClr val="tx1"/>
                  </a:solidFill>
                </a:rPr>
                <a:t>Azure DevOps</a:t>
              </a:r>
            </a:p>
          </p:txBody>
        </p:sp>
      </p:grpSp>
      <p:grpSp>
        <p:nvGrpSpPr>
          <p:cNvPr id="85" name="Group 84">
            <a:extLst>
              <a:ext uri="{FF2B5EF4-FFF2-40B4-BE49-F238E27FC236}">
                <a16:creationId xmlns:a16="http://schemas.microsoft.com/office/drawing/2014/main" id="{54200472-D3EC-4B41-82AB-A867855BB3F2}"/>
              </a:ext>
            </a:extLst>
          </p:cNvPr>
          <p:cNvGrpSpPr/>
          <p:nvPr/>
        </p:nvGrpSpPr>
        <p:grpSpPr>
          <a:xfrm>
            <a:off x="1" y="4744379"/>
            <a:ext cx="3560742" cy="715170"/>
            <a:chOff x="1" y="4546259"/>
            <a:chExt cx="3560742" cy="715170"/>
          </a:xfrm>
        </p:grpSpPr>
        <p:sp>
          <p:nvSpPr>
            <p:cNvPr id="82" name="Freeform: Shape 81">
              <a:extLst>
                <a:ext uri="{FF2B5EF4-FFF2-40B4-BE49-F238E27FC236}">
                  <a16:creationId xmlns:a16="http://schemas.microsoft.com/office/drawing/2014/main" id="{576EA1FC-2C44-41D4-B5B0-137214FD7904}"/>
                </a:ext>
              </a:extLst>
            </p:cNvPr>
            <p:cNvSpPr/>
            <p:nvPr/>
          </p:nvSpPr>
          <p:spPr bwMode="auto">
            <a:xfrm>
              <a:off x="1" y="4546259"/>
              <a:ext cx="3560742" cy="715170"/>
            </a:xfrm>
            <a:custGeom>
              <a:avLst/>
              <a:gdLst>
                <a:gd name="connsiteX0" fmla="*/ 0 w 3560742"/>
                <a:gd name="connsiteY0" fmla="*/ 0 h 715170"/>
                <a:gd name="connsiteX1" fmla="*/ 3560742 w 3560742"/>
                <a:gd name="connsiteY1" fmla="*/ 0 h 715170"/>
                <a:gd name="connsiteX2" fmla="*/ 2845572 w 3560742"/>
                <a:gd name="connsiteY2" fmla="*/ 715170 h 715170"/>
                <a:gd name="connsiteX3" fmla="*/ 0 w 3560742"/>
                <a:gd name="connsiteY3" fmla="*/ 715170 h 715170"/>
              </a:gdLst>
              <a:ahLst/>
              <a:cxnLst>
                <a:cxn ang="0">
                  <a:pos x="connsiteX0" y="connsiteY0"/>
                </a:cxn>
                <a:cxn ang="0">
                  <a:pos x="connsiteX1" y="connsiteY1"/>
                </a:cxn>
                <a:cxn ang="0">
                  <a:pos x="connsiteX2" y="connsiteY2"/>
                </a:cxn>
                <a:cxn ang="0">
                  <a:pos x="connsiteX3" y="connsiteY3"/>
                </a:cxn>
              </a:cxnLst>
              <a:rect l="l" t="t" r="r" b="b"/>
              <a:pathLst>
                <a:path w="3560742" h="715170">
                  <a:moveTo>
                    <a:pt x="0" y="0"/>
                  </a:moveTo>
                  <a:lnTo>
                    <a:pt x="3560742" y="0"/>
                  </a:lnTo>
                  <a:lnTo>
                    <a:pt x="2845572" y="715170"/>
                  </a:lnTo>
                  <a:lnTo>
                    <a:pt x="0" y="715170"/>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000000"/>
                </a:solidFill>
                <a:cs typeface="Segoe UI" pitchFamily="34" charset="0"/>
              </a:endParaRPr>
            </a:p>
          </p:txBody>
        </p:sp>
        <p:sp>
          <p:nvSpPr>
            <p:cNvPr id="67" name="Rectangle 66">
              <a:extLst>
                <a:ext uri="{FF2B5EF4-FFF2-40B4-BE49-F238E27FC236}">
                  <a16:creationId xmlns:a16="http://schemas.microsoft.com/office/drawing/2014/main" id="{44465F9D-4947-4FD0-8911-B20F46E4D426}"/>
                </a:ext>
              </a:extLst>
            </p:cNvPr>
            <p:cNvSpPr/>
            <p:nvPr/>
          </p:nvSpPr>
          <p:spPr bwMode="auto">
            <a:xfrm>
              <a:off x="457200" y="4660900"/>
              <a:ext cx="2260600" cy="485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IN">
                  <a:solidFill>
                    <a:srgbClr val="000000"/>
                  </a:solidFill>
                  <a:latin typeface="+mj-lt"/>
                  <a:cs typeface="Segoe UI" pitchFamily="34" charset="0"/>
                </a:rPr>
                <a:t>Application Lifecycle</a:t>
              </a:r>
            </a:p>
          </p:txBody>
        </p:sp>
      </p:grpSp>
      <p:grpSp>
        <p:nvGrpSpPr>
          <p:cNvPr id="71" name="Group 70">
            <a:extLst>
              <a:ext uri="{FF2B5EF4-FFF2-40B4-BE49-F238E27FC236}">
                <a16:creationId xmlns:a16="http://schemas.microsoft.com/office/drawing/2014/main" id="{A9416006-B953-4F3E-9ADB-1FA6C60FE8A6}"/>
              </a:ext>
            </a:extLst>
          </p:cNvPr>
          <p:cNvGrpSpPr/>
          <p:nvPr/>
        </p:nvGrpSpPr>
        <p:grpSpPr>
          <a:xfrm>
            <a:off x="3111500" y="5800805"/>
            <a:ext cx="8645526" cy="659718"/>
            <a:chOff x="3606800" y="5569857"/>
            <a:chExt cx="8150225" cy="754063"/>
          </a:xfrm>
        </p:grpSpPr>
        <p:sp>
          <p:nvSpPr>
            <p:cNvPr id="72" name="Rectangle 71">
              <a:extLst>
                <a:ext uri="{FF2B5EF4-FFF2-40B4-BE49-F238E27FC236}">
                  <a16:creationId xmlns:a16="http://schemas.microsoft.com/office/drawing/2014/main" id="{A42FE150-C23B-47F9-990A-768E5C8B69DA}"/>
                </a:ext>
              </a:extLst>
            </p:cNvPr>
            <p:cNvSpPr/>
            <p:nvPr/>
          </p:nvSpPr>
          <p:spPr bwMode="auto">
            <a:xfrm>
              <a:off x="3606800" y="5569857"/>
              <a:ext cx="2690097" cy="7540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a:solidFill>
                    <a:schemeClr val="tx1"/>
                  </a:solidFill>
                </a:rPr>
                <a:t>Establish a Center</a:t>
              </a:r>
              <a:br>
                <a:rPr lang="en-US" sz="1400">
                  <a:solidFill>
                    <a:schemeClr val="tx1"/>
                  </a:solidFill>
                </a:rPr>
              </a:br>
              <a:r>
                <a:rPr lang="en-US" sz="1400">
                  <a:solidFill>
                    <a:schemeClr val="tx1"/>
                  </a:solidFill>
                </a:rPr>
                <a:t>of Excellence</a:t>
              </a:r>
            </a:p>
          </p:txBody>
        </p:sp>
        <p:sp>
          <p:nvSpPr>
            <p:cNvPr id="73" name="Rectangle 72">
              <a:extLst>
                <a:ext uri="{FF2B5EF4-FFF2-40B4-BE49-F238E27FC236}">
                  <a16:creationId xmlns:a16="http://schemas.microsoft.com/office/drawing/2014/main" id="{E1137FA4-7890-48BD-A05E-01E55B27DD05}"/>
                </a:ext>
              </a:extLst>
            </p:cNvPr>
            <p:cNvSpPr/>
            <p:nvPr/>
          </p:nvSpPr>
          <p:spPr bwMode="auto">
            <a:xfrm>
              <a:off x="6336863" y="5569857"/>
              <a:ext cx="2690097" cy="7540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a:solidFill>
                    <a:schemeClr val="tx1"/>
                  </a:solidFill>
                </a:rPr>
                <a:t>Educate new makers</a:t>
              </a:r>
            </a:p>
          </p:txBody>
        </p:sp>
        <p:sp>
          <p:nvSpPr>
            <p:cNvPr id="74" name="Rectangle 73">
              <a:extLst>
                <a:ext uri="{FF2B5EF4-FFF2-40B4-BE49-F238E27FC236}">
                  <a16:creationId xmlns:a16="http://schemas.microsoft.com/office/drawing/2014/main" id="{95787A39-32AA-4E1D-9988-1499CCBFC255}"/>
                </a:ext>
              </a:extLst>
            </p:cNvPr>
            <p:cNvSpPr/>
            <p:nvPr/>
          </p:nvSpPr>
          <p:spPr bwMode="auto">
            <a:xfrm>
              <a:off x="9066928" y="5569857"/>
              <a:ext cx="2690097" cy="7540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a:solidFill>
                    <a:schemeClr val="tx1"/>
                  </a:solidFill>
                </a:rPr>
                <a:t>Foster best practices</a:t>
              </a:r>
            </a:p>
          </p:txBody>
        </p:sp>
      </p:grpSp>
      <p:grpSp>
        <p:nvGrpSpPr>
          <p:cNvPr id="86" name="Group 85">
            <a:extLst>
              <a:ext uri="{FF2B5EF4-FFF2-40B4-BE49-F238E27FC236}">
                <a16:creationId xmlns:a16="http://schemas.microsoft.com/office/drawing/2014/main" id="{8D8EC766-213A-459A-BF65-D5AB6B3558B6}"/>
              </a:ext>
            </a:extLst>
          </p:cNvPr>
          <p:cNvGrpSpPr/>
          <p:nvPr/>
        </p:nvGrpSpPr>
        <p:grpSpPr>
          <a:xfrm>
            <a:off x="1" y="5773079"/>
            <a:ext cx="3560742" cy="715170"/>
            <a:chOff x="1" y="5574959"/>
            <a:chExt cx="3560742" cy="715170"/>
          </a:xfrm>
        </p:grpSpPr>
        <p:sp>
          <p:nvSpPr>
            <p:cNvPr id="84" name="Freeform: Shape 83">
              <a:extLst>
                <a:ext uri="{FF2B5EF4-FFF2-40B4-BE49-F238E27FC236}">
                  <a16:creationId xmlns:a16="http://schemas.microsoft.com/office/drawing/2014/main" id="{A74C27AA-C85B-4A83-81A4-16A2EF713394}"/>
                </a:ext>
              </a:extLst>
            </p:cNvPr>
            <p:cNvSpPr/>
            <p:nvPr/>
          </p:nvSpPr>
          <p:spPr bwMode="auto">
            <a:xfrm>
              <a:off x="1" y="5574959"/>
              <a:ext cx="3560742" cy="715170"/>
            </a:xfrm>
            <a:custGeom>
              <a:avLst/>
              <a:gdLst>
                <a:gd name="connsiteX0" fmla="*/ 0 w 3560742"/>
                <a:gd name="connsiteY0" fmla="*/ 0 h 715170"/>
                <a:gd name="connsiteX1" fmla="*/ 3560742 w 3560742"/>
                <a:gd name="connsiteY1" fmla="*/ 0 h 715170"/>
                <a:gd name="connsiteX2" fmla="*/ 2845572 w 3560742"/>
                <a:gd name="connsiteY2" fmla="*/ 715170 h 715170"/>
                <a:gd name="connsiteX3" fmla="*/ 0 w 3560742"/>
                <a:gd name="connsiteY3" fmla="*/ 715170 h 715170"/>
              </a:gdLst>
              <a:ahLst/>
              <a:cxnLst>
                <a:cxn ang="0">
                  <a:pos x="connsiteX0" y="connsiteY0"/>
                </a:cxn>
                <a:cxn ang="0">
                  <a:pos x="connsiteX1" y="connsiteY1"/>
                </a:cxn>
                <a:cxn ang="0">
                  <a:pos x="connsiteX2" y="connsiteY2"/>
                </a:cxn>
                <a:cxn ang="0">
                  <a:pos x="connsiteX3" y="connsiteY3"/>
                </a:cxn>
              </a:cxnLst>
              <a:rect l="l" t="t" r="r" b="b"/>
              <a:pathLst>
                <a:path w="3560742" h="715170">
                  <a:moveTo>
                    <a:pt x="0" y="0"/>
                  </a:moveTo>
                  <a:lnTo>
                    <a:pt x="3560742" y="0"/>
                  </a:lnTo>
                  <a:lnTo>
                    <a:pt x="2845572" y="715170"/>
                  </a:lnTo>
                  <a:lnTo>
                    <a:pt x="0" y="715170"/>
                  </a:lnTo>
                  <a:close/>
                </a:path>
              </a:pathLst>
            </a:cu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000000"/>
                </a:solidFill>
                <a:cs typeface="Segoe UI" pitchFamily="34" charset="0"/>
              </a:endParaRPr>
            </a:p>
          </p:txBody>
        </p:sp>
        <p:sp>
          <p:nvSpPr>
            <p:cNvPr id="75" name="Rectangle 74">
              <a:extLst>
                <a:ext uri="{FF2B5EF4-FFF2-40B4-BE49-F238E27FC236}">
                  <a16:creationId xmlns:a16="http://schemas.microsoft.com/office/drawing/2014/main" id="{95166921-CC6A-43D8-A3BB-8807BBF1DECE}"/>
                </a:ext>
              </a:extLst>
            </p:cNvPr>
            <p:cNvSpPr/>
            <p:nvPr/>
          </p:nvSpPr>
          <p:spPr bwMode="auto">
            <a:xfrm>
              <a:off x="457200" y="5689600"/>
              <a:ext cx="2260600" cy="485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IN">
                  <a:solidFill>
                    <a:srgbClr val="000000"/>
                  </a:solidFill>
                  <a:latin typeface="+mj-lt"/>
                  <a:cs typeface="Segoe UI" pitchFamily="34" charset="0"/>
                </a:rPr>
                <a:t>Nurture and educate</a:t>
              </a:r>
            </a:p>
          </p:txBody>
        </p:sp>
      </p:grpSp>
    </p:spTree>
    <p:extLst>
      <p:ext uri="{BB962C8B-B14F-4D97-AF65-F5344CB8AC3E}">
        <p14:creationId xmlns:p14="http://schemas.microsoft.com/office/powerpoint/2010/main" val="456690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wipe(left)">
                                      <p:cBhvr>
                                        <p:cTn id="7" dur="500"/>
                                        <p:tgtEl>
                                          <p:spTgt spid="8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76"/>
                                        </p:tgtEl>
                                        <p:attrNameLst>
                                          <p:attrName>style.visibility</p:attrName>
                                        </p:attrNameLst>
                                      </p:cBhvr>
                                      <p:to>
                                        <p:strVal val="visible"/>
                                      </p:to>
                                    </p:set>
                                    <p:animEffect transition="in" filter="wipe(left)">
                                      <p:cBhvr>
                                        <p:cTn id="11" dur="500"/>
                                        <p:tgtEl>
                                          <p:spTgt spid="7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6"/>
                                        </p:tgtEl>
                                        <p:attrNameLst>
                                          <p:attrName>style.visibility</p:attrName>
                                        </p:attrNameLst>
                                      </p:cBhvr>
                                      <p:to>
                                        <p:strVal val="visible"/>
                                      </p:to>
                                    </p:set>
                                    <p:animEffect transition="in" filter="fade">
                                      <p:cBhvr>
                                        <p:cTn id="15" dur="500"/>
                                        <p:tgtEl>
                                          <p:spTgt spid="66"/>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86"/>
                                        </p:tgtEl>
                                        <p:attrNameLst>
                                          <p:attrName>style.visibility</p:attrName>
                                        </p:attrNameLst>
                                      </p:cBhvr>
                                      <p:to>
                                        <p:strVal val="visible"/>
                                      </p:to>
                                    </p:set>
                                    <p:animEffect transition="in" filter="wipe(left)">
                                      <p:cBhvr>
                                        <p:cTn id="19" dur="500"/>
                                        <p:tgtEl>
                                          <p:spTgt spid="86"/>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77"/>
                                        </p:tgtEl>
                                        <p:attrNameLst>
                                          <p:attrName>style.visibility</p:attrName>
                                        </p:attrNameLst>
                                      </p:cBhvr>
                                      <p:to>
                                        <p:strVal val="visible"/>
                                      </p:to>
                                    </p:set>
                                    <p:animEffect transition="in" filter="wipe(left)">
                                      <p:cBhvr>
                                        <p:cTn id="23" dur="500"/>
                                        <p:tgtEl>
                                          <p:spTgt spid="77"/>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pDk04I9bvCT4ZHjnjjiQg"/>
</p:tagLst>
</file>

<file path=ppt/tags/tag3.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heme/theme1.xml><?xml version="1.0" encoding="utf-8"?>
<a:theme xmlns:a="http://schemas.openxmlformats.org/drawingml/2006/main" name="Power Apps">
  <a:themeElements>
    <a:clrScheme name="Custom 1">
      <a:dk1>
        <a:srgbClr val="3C3C41"/>
      </a:dk1>
      <a:lt1>
        <a:srgbClr val="FFFFFF"/>
      </a:lt1>
      <a:dk2>
        <a:srgbClr val="008272"/>
      </a:dk2>
      <a:lt2>
        <a:srgbClr val="FFFFFF"/>
      </a:lt2>
      <a:accent1>
        <a:srgbClr val="EBEBEB"/>
      </a:accent1>
      <a:accent2>
        <a:srgbClr val="75757A"/>
      </a:accent2>
      <a:accent3>
        <a:srgbClr val="3C3C41"/>
      </a:accent3>
      <a:accent4>
        <a:srgbClr val="742774"/>
      </a:accent4>
      <a:accent5>
        <a:srgbClr val="0076FD"/>
      </a:accent5>
      <a:accent6>
        <a:srgbClr val="F2C81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1_Dynamics 365">
  <a:themeElements>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p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4.xml><?xml version="1.0" encoding="utf-8"?>
<a:theme xmlns:a="http://schemas.openxmlformats.org/drawingml/2006/main" name="1_Power Apps">
  <a:themeElements>
    <a:clrScheme name="Custom 1">
      <a:dk1>
        <a:srgbClr val="3C3C41"/>
      </a:dk1>
      <a:lt1>
        <a:srgbClr val="FFFFFF"/>
      </a:lt1>
      <a:dk2>
        <a:srgbClr val="008272"/>
      </a:dk2>
      <a:lt2>
        <a:srgbClr val="FFFFFF"/>
      </a:lt2>
      <a:accent1>
        <a:srgbClr val="EBEBEB"/>
      </a:accent1>
      <a:accent2>
        <a:srgbClr val="75757A"/>
      </a:accent2>
      <a:accent3>
        <a:srgbClr val="3C3C41"/>
      </a:accent3>
      <a:accent4>
        <a:srgbClr val="742774"/>
      </a:accent4>
      <a:accent5>
        <a:srgbClr val="0076FD"/>
      </a:accent5>
      <a:accent6>
        <a:srgbClr val="F2C81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5.xml><?xml version="1.0" encoding="utf-8"?>
<a:theme xmlns:a="http://schemas.openxmlformats.org/drawingml/2006/main" name="2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6.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7.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0" marR="0" indent="0" algn="l" defTabSz="932472" eaLnBrk="1" fontAlgn="base" latinLnBrk="0" hangingPunct="1">
          <a:lnSpc>
            <a:spcPct val="100000"/>
          </a:lnSpc>
          <a:spcBef>
            <a:spcPct val="0"/>
          </a:spcBef>
          <a:spcAft>
            <a:spcPct val="0"/>
          </a:spcAft>
          <a:buClrTx/>
          <a:buSzTx/>
          <a:buFontTx/>
          <a:buNone/>
          <a:tabLst/>
          <a:defRPr kumimoji="0"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defRPr>
        </a:defPPr>
      </a:lst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8.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D353A4BAC0BD843BAFA27F789CCDA2E" ma:contentTypeVersion="13" ma:contentTypeDescription="Create a new document." ma:contentTypeScope="" ma:versionID="c2affa55d475b138ac446f624bb8430c">
  <xsd:schema xmlns:xsd="http://www.w3.org/2001/XMLSchema" xmlns:xs="http://www.w3.org/2001/XMLSchema" xmlns:p="http://schemas.microsoft.com/office/2006/metadata/properties" xmlns:ns2="2e7e8d61-2432-4966-bff6-afe7197066b3" xmlns:ns3="cdddad68-33dc-4597-bc2d-2f12ac7da19b" targetNamespace="http://schemas.microsoft.com/office/2006/metadata/properties" ma:root="true" ma:fieldsID="409ac7ef287357ce837091c19bd17a82" ns2:_="" ns3:_="">
    <xsd:import namespace="2e7e8d61-2432-4966-bff6-afe7197066b3"/>
    <xsd:import namespace="cdddad68-33dc-4597-bc2d-2f12ac7da19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OneNoteFluid_FileOrder"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7e8d61-2432-4966-bff6-afe7197066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OneNoteFluid_FileOrder" ma:index="18" nillable="true" ma:displayName="OneNoteFluid_FileOrder" ma:internalName="OneNoteFluid_FileOrder">
      <xsd:simpleType>
        <xsd:restriction base="dms:Text">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dddad68-33dc-4597-bc2d-2f12ac7da19b"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OneNoteFluid_FileOrder xmlns="2e7e8d61-2432-4966-bff6-afe7197066b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D26C400-AC94-4F12-805A-592545822FD2}"/>
</file>

<file path=customXml/itemProps2.xml><?xml version="1.0" encoding="utf-8"?>
<ds:datastoreItem xmlns:ds="http://schemas.openxmlformats.org/officeDocument/2006/customXml" ds:itemID="{945C88C1-CC4B-4C71-A428-3A05B3FE1FBC}">
  <ds:schemaRefs>
    <ds:schemaRef ds:uri="http://purl.org/dc/terms/"/>
    <ds:schemaRef ds:uri="http://schemas.microsoft.com/office/2006/documentManagement/types"/>
    <ds:schemaRef ds:uri="http://purl.org/dc/elements/1.1/"/>
    <ds:schemaRef ds:uri="http://purl.org/dc/dcmitype/"/>
    <ds:schemaRef ds:uri="http://schemas.microsoft.com/office/infopath/2007/PartnerControls"/>
    <ds:schemaRef ds:uri="496d29a8-6e0c-4c62-aa3a-946fefcb7728"/>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288EF328-E61D-41A4-BCD1-6D933BB69FCA}">
  <ds:schemaRefs>
    <ds:schemaRef ds:uri="http://schemas.microsoft.com/sharepoint/v3/contenttype/forms"/>
  </ds:schemaRefs>
</ds:datastoreItem>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0</TotalTime>
  <Words>1032</Words>
  <Application>Microsoft Office PowerPoint</Application>
  <PresentationFormat>Widescreen</PresentationFormat>
  <Paragraphs>104</Paragraphs>
  <Slides>8</Slides>
  <Notes>8</Notes>
  <HiddenSlides>1</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8</vt:i4>
      </vt:variant>
    </vt:vector>
  </HeadingPairs>
  <TitlesOfParts>
    <vt:vector size="27" baseType="lpstr">
      <vt:lpstr>&amp;quot</vt:lpstr>
      <vt:lpstr>Arial</vt:lpstr>
      <vt:lpstr>Calibri</vt:lpstr>
      <vt:lpstr>Calibri Light</vt:lpstr>
      <vt:lpstr>Consolas</vt:lpstr>
      <vt:lpstr>Segoe UI</vt:lpstr>
      <vt:lpstr>Segoe UI Light</vt:lpstr>
      <vt:lpstr>Segoe UI Semibold</vt:lpstr>
      <vt:lpstr>Segoe UI Semilight</vt:lpstr>
      <vt:lpstr>Wingdings</vt:lpstr>
      <vt:lpstr>Power Apps</vt:lpstr>
      <vt:lpstr>BA PowerPlatofrm Template Lines 090220</vt:lpstr>
      <vt:lpstr>1_Dynamics 365</vt:lpstr>
      <vt:lpstr>1_Power Apps</vt:lpstr>
      <vt:lpstr>2_Dynamics 365</vt:lpstr>
      <vt:lpstr>Dynamics 365</vt:lpstr>
      <vt:lpstr>1_BA PowerPlatofrm Template Lines 090220</vt:lpstr>
      <vt:lpstr>3_Microsoft 365 PPT Template - 2018</vt:lpstr>
      <vt:lpstr>think-cell Slide</vt:lpstr>
      <vt:lpstr>Power Platform Governance Overview</vt:lpstr>
      <vt:lpstr>Disclaimer</vt:lpstr>
      <vt:lpstr>Microsoft Power Platform</vt:lpstr>
      <vt:lpstr>The Power Platform is Designed For Everyone</vt:lpstr>
      <vt:lpstr>Digital Transformation is Powered By People</vt:lpstr>
      <vt:lpstr>The Growing Number of Developers Creates A New Norm</vt:lpstr>
      <vt:lpstr>PowerPoint Presentation</vt:lpstr>
      <vt:lpstr>Governance – Practically Appli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Apps PowerPoint Template</dc:title>
  <dc:creator>Tom Postings</dc:creator>
  <cp:keywords/>
  <cp:lastModifiedBy>Petri Puustinen</cp:lastModifiedBy>
  <cp:revision>4</cp:revision>
  <dcterms:created xsi:type="dcterms:W3CDTF">2020-01-08T21:30:07Z</dcterms:created>
  <dcterms:modified xsi:type="dcterms:W3CDTF">2021-10-30T06:1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D353A4BAC0BD843BAFA27F789CCDA2E</vt:lpwstr>
  </property>
  <property fmtid="{D5CDD505-2E9C-101B-9397-08002B2CF9AE}" pid="3" name="_dlc_policyId">
    <vt:lpwstr>0x0101000E4CB7077FEE4FF7AE86D4A500EEC780030016C849C62B10EB41ACA8C7EEDEF40BB20099ECF64382448D48A56095091C66B1A9|-661092312</vt:lpwstr>
  </property>
  <property fmtid="{D5CDD505-2E9C-101B-9397-08002B2CF9AE}" pid="4" name="Confidentiality">
    <vt:lpwstr>5;#internal users|461efa83-0283-486a-a8d5-943328f3693f</vt:lpwstr>
  </property>
  <property fmtid="{D5CDD505-2E9C-101B-9397-08002B2CF9AE}" pid="5"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6" name="_dlc_DocIdItemGuid">
    <vt:lpwstr>ffd394ea-cd4c-4afe-b6e2-1d911aa91a79</vt:lpwstr>
  </property>
  <property fmtid="{D5CDD505-2E9C-101B-9397-08002B2CF9AE}" pid="7" name="TaxKeyword">
    <vt:lpwstr/>
  </property>
  <property fmtid="{D5CDD505-2E9C-101B-9397-08002B2CF9AE}" pid="8" name="NewsType">
    <vt:lpwstr/>
  </property>
  <property fmtid="{D5CDD505-2E9C-101B-9397-08002B2CF9AE}" pid="9" name="Region">
    <vt:lpwstr/>
  </property>
  <property fmtid="{D5CDD505-2E9C-101B-9397-08002B2CF9AE}" pid="10" name="ItemType">
    <vt:lpwstr>3075;#documents|e037ed84-7d8e-4cbb-9c8f-61e80301a44f</vt:lpwstr>
  </property>
  <property fmtid="{D5CDD505-2E9C-101B-9397-08002B2CF9AE}" pid="11" name="Industries">
    <vt:lpwstr/>
  </property>
  <property fmtid="{D5CDD505-2E9C-101B-9397-08002B2CF9AE}" pid="12" name="MSProducts">
    <vt:lpwstr/>
  </property>
  <property fmtid="{D5CDD505-2E9C-101B-9397-08002B2CF9AE}" pid="13" name="Competitors">
    <vt:lpwstr/>
  </property>
  <property fmtid="{D5CDD505-2E9C-101B-9397-08002B2CF9AE}" pid="14" name="SMSGDomain">
    <vt:lpwstr>2548;#Business Applications Domain|610af3f5-b43d-455a-97a7-f917993f5652</vt:lpwstr>
  </property>
  <property fmtid="{D5CDD505-2E9C-101B-9397-08002B2CF9AE}" pid="15" name="ExperienceContentType">
    <vt:lpwstr/>
  </property>
  <property fmtid="{D5CDD505-2E9C-101B-9397-08002B2CF9AE}" pid="16" name="BusinessArchitecture">
    <vt:lpwstr>1799;#Business Applications|bc6a3471-5036-4c6f-8724-05bc21271c2e;#2743;#Microsoft Power platform|89e3aef7-17c4-4d94-8911-f58a28f8fed8</vt:lpwstr>
  </property>
  <property fmtid="{D5CDD505-2E9C-101B-9397-08002B2CF9AE}" pid="17" name="Products">
    <vt:lpwstr>2321;#Power Apps|c2b7c9b5-267e-4ead-becc-03446bde7831;#2515;#Power Automate|d22fb328-0625-4c11-970d-937380f62ea3;#162;#Power BI for Office 365|f9a65d80-21ac-4b9a-bf55-4f28a6454a78</vt:lpwstr>
  </property>
  <property fmtid="{D5CDD505-2E9C-101B-9397-08002B2CF9AE}" pid="18" name="l6f004f21209409da86a713c0f24627d">
    <vt:lpwstr/>
  </property>
  <property fmtid="{D5CDD505-2E9C-101B-9397-08002B2CF9AE}" pid="19" name="MSProductsTaxHTField0">
    <vt:lpwstr/>
  </property>
  <property fmtid="{D5CDD505-2E9C-101B-9397-08002B2CF9AE}" pid="20" name="e8080b0481964c759b2c36ae49591b31">
    <vt:lpwstr/>
  </property>
  <property fmtid="{D5CDD505-2E9C-101B-9397-08002B2CF9AE}" pid="21" name="TechnicalLevel">
    <vt:lpwstr>3066;#100 (beginner)|7d022d07-ff67-4af8-910d-8ea6b46b5908</vt:lpwstr>
  </property>
  <property fmtid="{D5CDD505-2E9C-101B-9397-08002B2CF9AE}" pid="22" name="Audiences">
    <vt:lpwstr/>
  </property>
  <property fmtid="{D5CDD505-2E9C-101B-9397-08002B2CF9AE}" pid="23" name="SMSG Items">
    <vt:lpwstr>3091;#documents|e037ed84-7d8e-4cbb-9c8f-61e80301a44f</vt:lpwstr>
  </property>
  <property fmtid="{D5CDD505-2E9C-101B-9397-08002B2CF9AE}" pid="24" name="ldac8aee9d1f469e8cd8c3f8d6a615f2">
    <vt:lpwstr/>
  </property>
  <property fmtid="{D5CDD505-2E9C-101B-9397-08002B2CF9AE}" pid="25" name="Solution Areas">
    <vt:lpwstr>3477;#Business Applications|bc6a3471-5036-4c6f-8724-05bc21271c2e</vt:lpwstr>
  </property>
  <property fmtid="{D5CDD505-2E9C-101B-9397-08002B2CF9AE}" pid="26" name="EmployeeRole">
    <vt:lpwstr/>
  </property>
  <property fmtid="{D5CDD505-2E9C-101B-9397-08002B2CF9AE}" pid="27" name="NewsTopic">
    <vt:lpwstr/>
  </property>
  <property fmtid="{D5CDD505-2E9C-101B-9397-08002B2CF9AE}" pid="28" name="Roles">
    <vt:lpwstr/>
  </property>
  <property fmtid="{D5CDD505-2E9C-101B-9397-08002B2CF9AE}" pid="29" name="NewsSource">
    <vt:lpwstr/>
  </property>
  <property fmtid="{D5CDD505-2E9C-101B-9397-08002B2CF9AE}" pid="30" name="MSProfessions">
    <vt:lpwstr>3100;#Marketing|6bac43fe-835f-4207-8dba-9b6899aa3139</vt:lpwstr>
  </property>
  <property fmtid="{D5CDD505-2E9C-101B-9397-08002B2CF9AE}" pid="31" name="SMSGTags">
    <vt:lpwstr/>
  </property>
  <property fmtid="{D5CDD505-2E9C-101B-9397-08002B2CF9AE}" pid="32" name="MSPhysicalGeography">
    <vt:lpwstr/>
  </property>
  <property fmtid="{D5CDD505-2E9C-101B-9397-08002B2CF9AE}" pid="33" name="EnterpriseDomainTags">
    <vt:lpwstr/>
  </property>
  <property fmtid="{D5CDD505-2E9C-101B-9397-08002B2CF9AE}" pid="34" name="j3562c58ee414e028925bc902cfc01a1">
    <vt:lpwstr/>
  </property>
  <property fmtid="{D5CDD505-2E9C-101B-9397-08002B2CF9AE}" pid="35" name="Segments">
    <vt:lpwstr/>
  </property>
  <property fmtid="{D5CDD505-2E9C-101B-9397-08002B2CF9AE}" pid="36" name="Partners">
    <vt:lpwstr/>
  </property>
  <property fmtid="{D5CDD505-2E9C-101B-9397-08002B2CF9AE}" pid="37" name="ActivitiesAndPrograms">
    <vt:lpwstr/>
  </property>
  <property fmtid="{D5CDD505-2E9C-101B-9397-08002B2CF9AE}" pid="38" name="la4444b61d19467597d63190b69ac227">
    <vt:lpwstr/>
  </property>
  <property fmtid="{D5CDD505-2E9C-101B-9397-08002B2CF9AE}" pid="39" name="Topics">
    <vt:lpwstr/>
  </property>
  <property fmtid="{D5CDD505-2E9C-101B-9397-08002B2CF9AE}" pid="40" name="Groups">
    <vt:lpwstr/>
  </property>
  <property fmtid="{D5CDD505-2E9C-101B-9397-08002B2CF9AE}" pid="41" name="Languages">
    <vt:lpwstr/>
  </property>
  <property fmtid="{D5CDD505-2E9C-101B-9397-08002B2CF9AE}" pid="42" name="of67e5d4b76f4a9db8769983fda9cec0">
    <vt:lpwstr/>
  </property>
</Properties>
</file>